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7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bookmarkIdSeed="2">
  <p:sldMasterIdLst>
    <p:sldMasterId id="2147483737" r:id="rId4"/>
    <p:sldMasterId id="2147483752" r:id="rId5"/>
  </p:sldMasterIdLst>
  <p:notesMasterIdLst>
    <p:notesMasterId r:id="rId28"/>
  </p:notesMasterIdLst>
  <p:handoutMasterIdLst>
    <p:handoutMasterId r:id="rId29"/>
  </p:handoutMasterIdLst>
  <p:sldIdLst>
    <p:sldId id="256" r:id="rId6"/>
    <p:sldId id="286" r:id="rId7"/>
    <p:sldId id="306" r:id="rId8"/>
    <p:sldId id="324" r:id="rId9"/>
    <p:sldId id="313" r:id="rId10"/>
    <p:sldId id="304" r:id="rId11"/>
    <p:sldId id="315" r:id="rId12"/>
    <p:sldId id="312" r:id="rId13"/>
    <p:sldId id="335" r:id="rId14"/>
    <p:sldId id="336" r:id="rId15"/>
    <p:sldId id="314" r:id="rId16"/>
    <p:sldId id="327" r:id="rId17"/>
    <p:sldId id="322" r:id="rId18"/>
    <p:sldId id="323" r:id="rId19"/>
    <p:sldId id="279" r:id="rId20"/>
    <p:sldId id="274" r:id="rId21"/>
    <p:sldId id="277" r:id="rId22"/>
    <p:sldId id="334" r:id="rId23"/>
    <p:sldId id="332" r:id="rId24"/>
    <p:sldId id="330" r:id="rId25"/>
    <p:sldId id="261" r:id="rId26"/>
    <p:sldId id="292" r:id="rId27"/>
  </p:sldIdLst>
  <p:sldSz cx="12192000" cy="6858000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000" i="1" kern="1200">
        <a:solidFill>
          <a:schemeClr val="tx1"/>
        </a:solidFill>
        <a:latin typeface="Tahom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000" i="1" kern="1200">
        <a:solidFill>
          <a:schemeClr val="tx1"/>
        </a:solidFill>
        <a:latin typeface="Tahom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000" i="1" kern="1200">
        <a:solidFill>
          <a:schemeClr val="tx1"/>
        </a:solidFill>
        <a:latin typeface="Tahom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000" i="1" kern="1200">
        <a:solidFill>
          <a:schemeClr val="tx1"/>
        </a:solidFill>
        <a:latin typeface="Tahom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000" i="1" kern="1200">
        <a:solidFill>
          <a:schemeClr val="tx1"/>
        </a:solidFill>
        <a:latin typeface="Tahoma" pitchFamily="34" charset="0"/>
        <a:ea typeface="+mn-ea"/>
        <a:cs typeface="+mn-cs"/>
      </a:defRPr>
    </a:lvl5pPr>
    <a:lvl6pPr marL="2286000" algn="l" defTabSz="914400" rtl="0" eaLnBrk="1" latinLnBrk="0" hangingPunct="1">
      <a:defRPr sz="2000" i="1" kern="1200">
        <a:solidFill>
          <a:schemeClr val="tx1"/>
        </a:solidFill>
        <a:latin typeface="Tahoma" pitchFamily="34" charset="0"/>
        <a:ea typeface="+mn-ea"/>
        <a:cs typeface="+mn-cs"/>
      </a:defRPr>
    </a:lvl6pPr>
    <a:lvl7pPr marL="2743200" algn="l" defTabSz="914400" rtl="0" eaLnBrk="1" latinLnBrk="0" hangingPunct="1">
      <a:defRPr sz="2000" i="1" kern="1200">
        <a:solidFill>
          <a:schemeClr val="tx1"/>
        </a:solidFill>
        <a:latin typeface="Tahoma" pitchFamily="34" charset="0"/>
        <a:ea typeface="+mn-ea"/>
        <a:cs typeface="+mn-cs"/>
      </a:defRPr>
    </a:lvl7pPr>
    <a:lvl8pPr marL="3200400" algn="l" defTabSz="914400" rtl="0" eaLnBrk="1" latinLnBrk="0" hangingPunct="1">
      <a:defRPr sz="2000" i="1" kern="1200">
        <a:solidFill>
          <a:schemeClr val="tx1"/>
        </a:solidFill>
        <a:latin typeface="Tahoma" pitchFamily="34" charset="0"/>
        <a:ea typeface="+mn-ea"/>
        <a:cs typeface="+mn-cs"/>
      </a:defRPr>
    </a:lvl8pPr>
    <a:lvl9pPr marL="3657600" algn="l" defTabSz="914400" rtl="0" eaLnBrk="1" latinLnBrk="0" hangingPunct="1">
      <a:defRPr sz="2000" i="1" kern="1200">
        <a:solidFill>
          <a:schemeClr val="tx1"/>
        </a:solidFill>
        <a:latin typeface="Tahoma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zione predefinita" id="{6069B9BB-6176-49A9-889F-03237E401C59}">
          <p14:sldIdLst>
            <p14:sldId id="256"/>
            <p14:sldId id="286"/>
            <p14:sldId id="306"/>
            <p14:sldId id="324"/>
            <p14:sldId id="313"/>
            <p14:sldId id="304"/>
            <p14:sldId id="315"/>
            <p14:sldId id="312"/>
            <p14:sldId id="335"/>
            <p14:sldId id="336"/>
            <p14:sldId id="314"/>
            <p14:sldId id="327"/>
            <p14:sldId id="322"/>
            <p14:sldId id="323"/>
            <p14:sldId id="279"/>
            <p14:sldId id="274"/>
            <p14:sldId id="277"/>
          </p14:sldIdLst>
        </p14:section>
        <p14:section name="Sezione senza titolo" id="{971D64BA-7FC2-4C75-ADF8-63507C3A111D}">
          <p14:sldIdLst>
            <p14:sldId id="334"/>
            <p14:sldId id="332"/>
            <p14:sldId id="330"/>
            <p14:sldId id="261"/>
            <p14:sldId id="29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F0B2C4"/>
    <a:srgbClr val="00CC99"/>
    <a:srgbClr val="66FF33"/>
    <a:srgbClr val="00FF99"/>
    <a:srgbClr val="FAB0CA"/>
    <a:srgbClr val="FF66FF"/>
    <a:srgbClr val="00CC66"/>
    <a:srgbClr val="D89290"/>
    <a:srgbClr val="9CDE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Stile chi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458" autoAdjust="0"/>
    <p:restoredTop sz="95916" autoAdjust="0"/>
  </p:normalViewPr>
  <p:slideViewPr>
    <p:cSldViewPr>
      <p:cViewPr varScale="1">
        <p:scale>
          <a:sx n="155" d="100"/>
          <a:sy n="155" d="100"/>
        </p:scale>
        <p:origin x="104" y="296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510"/>
    </p:cViewPr>
  </p:sorterViewPr>
  <p:notesViewPr>
    <p:cSldViewPr>
      <p:cViewPr varScale="1">
        <p:scale>
          <a:sx n="46" d="100"/>
          <a:sy n="46" d="100"/>
        </p:scale>
        <p:origin x="2736" y="36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Relationship Id="rId8" Type="http://schemas.openxmlformats.org/officeDocument/2006/relationships/slide" Target="slides/slide3.xml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image" Target="../media/image29.jpe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image" Target="../media/image29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18/5/colors/Iconchunking_neutralicon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F0A785A-B69E-423E-8B43-C8C78EC1B4F4}" type="doc">
      <dgm:prSet loTypeId="urn:microsoft.com/office/officeart/2008/layout/VerticalCurvedLis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1A70517-C0BD-447A-BC57-811A7D6CB8EE}">
      <dgm:prSet phldrT="[Testo]" custT="1"/>
      <dgm:spPr/>
      <dgm:t>
        <a:bodyPr/>
        <a:lstStyle/>
        <a:p>
          <a:pPr algn="l"/>
          <a:r>
            <a:rPr lang="it-IT" sz="2400" b="0" cap="all" baseline="0" noProof="0" dirty="0">
              <a:solidFill>
                <a:srgbClr val="002855"/>
              </a:solidFill>
              <a:latin typeface="Arial"/>
              <a:ea typeface="+mj-ea"/>
              <a:cs typeface="Arial"/>
              <a:sym typeface="Verdana Bold" panose="020B0804030504040204" pitchFamily="34" charset="0"/>
            </a:rPr>
            <a:t>	     Il contesto delle Aziende casa</a:t>
          </a:r>
        </a:p>
        <a:p>
          <a:pPr algn="l"/>
          <a:r>
            <a:rPr lang="it-IT" sz="2400" b="0" cap="all" baseline="0" noProof="0" dirty="0">
              <a:solidFill>
                <a:srgbClr val="002855"/>
              </a:solidFill>
              <a:latin typeface="Arial"/>
              <a:ea typeface="+mj-ea"/>
              <a:cs typeface="Arial"/>
              <a:sym typeface="Verdana Bold" panose="020B0804030504040204" pitchFamily="34" charset="0"/>
            </a:rPr>
            <a:t> lo spazio strategico per l’innovazione sociale</a:t>
          </a:r>
        </a:p>
      </dgm:t>
    </dgm:pt>
    <dgm:pt modelId="{D018338E-DA44-456F-AFE1-51AF9EDB9AA3}" type="sibTrans" cxnId="{1127B895-F0CC-4E5C-8FB6-4EBD2796BFC1}">
      <dgm:prSet/>
      <dgm:spPr/>
      <dgm:t>
        <a:bodyPr/>
        <a:lstStyle/>
        <a:p>
          <a:endParaRPr lang="it-IT"/>
        </a:p>
      </dgm:t>
    </dgm:pt>
    <dgm:pt modelId="{10D5B9C9-3F26-4C14-8847-67D7A6AAC809}" type="parTrans" cxnId="{1127B895-F0CC-4E5C-8FB6-4EBD2796BFC1}">
      <dgm:prSet/>
      <dgm:spPr/>
      <dgm:t>
        <a:bodyPr/>
        <a:lstStyle/>
        <a:p>
          <a:endParaRPr lang="it-IT"/>
        </a:p>
      </dgm:t>
    </dgm:pt>
    <dgm:pt modelId="{AE9280BA-2A38-4F80-8310-FC53D63A2B22}">
      <dgm:prSet custT="1"/>
      <dgm:spPr/>
      <dgm:t>
        <a:bodyPr lIns="0"/>
        <a:lstStyle/>
        <a:p>
          <a:pPr algn="ctr"/>
          <a:r>
            <a:rPr lang="it-IT" sz="2600" b="0" kern="1200" cap="all" baseline="0" dirty="0">
              <a:solidFill>
                <a:srgbClr val="002855"/>
              </a:solidFill>
              <a:latin typeface="Arial"/>
              <a:ea typeface="ヒラギノ角ゴ ProN W6"/>
              <a:cs typeface="Arial"/>
            </a:rPr>
            <a:t>IL CENTRO SERVIZI ALL’UTENZA </a:t>
          </a:r>
        </a:p>
        <a:p>
          <a:pPr algn="ctr"/>
          <a:r>
            <a:rPr lang="it-IT" sz="2600" b="0" kern="1200" cap="all" baseline="0" dirty="0">
              <a:solidFill>
                <a:srgbClr val="002855"/>
              </a:solidFill>
              <a:latin typeface="Arial"/>
              <a:ea typeface="ヒラギノ角ゴ ProN W6"/>
              <a:cs typeface="Arial"/>
            </a:rPr>
            <a:t>   occasione di un cambiamento concreto</a:t>
          </a:r>
        </a:p>
      </dgm:t>
    </dgm:pt>
    <dgm:pt modelId="{075AAFC7-61AF-4FF6-BC91-DA99BB25600A}" type="sibTrans" cxnId="{65E584AE-F61C-4118-B573-DC28818B3488}">
      <dgm:prSet/>
      <dgm:spPr/>
      <dgm:t>
        <a:bodyPr/>
        <a:lstStyle/>
        <a:p>
          <a:endParaRPr lang="it-IT"/>
        </a:p>
      </dgm:t>
    </dgm:pt>
    <dgm:pt modelId="{41356E58-DA55-4996-86C0-4B7D8F9B2659}" type="parTrans" cxnId="{65E584AE-F61C-4118-B573-DC28818B3488}">
      <dgm:prSet/>
      <dgm:spPr/>
      <dgm:t>
        <a:bodyPr/>
        <a:lstStyle/>
        <a:p>
          <a:endParaRPr lang="it-IT"/>
        </a:p>
      </dgm:t>
    </dgm:pt>
    <dgm:pt modelId="{C12C6C52-716F-4C2A-8DDC-FB25A542C4CE}">
      <dgm:prSet phldrT="[Testo]" custT="1"/>
      <dgm:spPr/>
      <dgm:t>
        <a:bodyPr/>
        <a:lstStyle/>
        <a:p>
          <a:pPr algn="ctr"/>
          <a:r>
            <a:rPr lang="it-IT" sz="2600" b="0" cap="all" baseline="0" dirty="0">
              <a:solidFill>
                <a:srgbClr val="002855"/>
              </a:solidFill>
              <a:latin typeface="Arial"/>
              <a:ea typeface="ヒラギノ角ゴ ProN W6"/>
              <a:cs typeface="Arial"/>
            </a:rPr>
            <a:t>Creare valore pubblico</a:t>
          </a:r>
        </a:p>
        <a:p>
          <a:pPr algn="ctr"/>
          <a:r>
            <a:rPr lang="it-IT" sz="2600" b="0" cap="all" baseline="0" dirty="0">
              <a:solidFill>
                <a:srgbClr val="002855"/>
              </a:solidFill>
              <a:latin typeface="Arial"/>
              <a:ea typeface="ヒラギノ角ゴ ProN W6"/>
              <a:cs typeface="Arial"/>
            </a:rPr>
            <a:t> una migliore </a:t>
          </a:r>
          <a:r>
            <a:rPr lang="it-IT" sz="2600" b="0" cap="all" baseline="0" dirty="0" err="1">
              <a:solidFill>
                <a:srgbClr val="002855"/>
              </a:solidFill>
              <a:latin typeface="Arial"/>
              <a:ea typeface="ヒラギノ角ゴ ProN W6"/>
              <a:cs typeface="Arial"/>
            </a:rPr>
            <a:t>QualitA’</a:t>
          </a:r>
          <a:r>
            <a:rPr lang="it-IT" sz="2600" b="0" cap="all" baseline="0" dirty="0">
              <a:solidFill>
                <a:srgbClr val="002855"/>
              </a:solidFill>
              <a:latin typeface="Arial"/>
              <a:ea typeface="ヒラギノ角ゴ ProN W6"/>
              <a:cs typeface="Arial"/>
            </a:rPr>
            <a:t> dell’abitare</a:t>
          </a:r>
        </a:p>
      </dgm:t>
    </dgm:pt>
    <dgm:pt modelId="{BDD38B21-DE0A-4932-858B-DDCCD53F89CF}" type="sibTrans" cxnId="{A018BB91-F130-4C25-B442-E60092BB639A}">
      <dgm:prSet/>
      <dgm:spPr/>
      <dgm:t>
        <a:bodyPr/>
        <a:lstStyle/>
        <a:p>
          <a:endParaRPr lang="it-IT"/>
        </a:p>
      </dgm:t>
    </dgm:pt>
    <dgm:pt modelId="{7D83333B-33D9-4564-BA46-BDB0192DEEE9}" type="parTrans" cxnId="{A018BB91-F130-4C25-B442-E60092BB639A}">
      <dgm:prSet/>
      <dgm:spPr/>
      <dgm:t>
        <a:bodyPr/>
        <a:lstStyle/>
        <a:p>
          <a:endParaRPr lang="it-IT"/>
        </a:p>
      </dgm:t>
    </dgm:pt>
    <dgm:pt modelId="{B882D360-D1A6-4CAD-A2BC-639A44245584}">
      <dgm:prSet phldrT="[Testo]" custT="1"/>
      <dgm:spPr/>
      <dgm:t>
        <a:bodyPr/>
        <a:lstStyle/>
        <a:p>
          <a:pPr algn="l"/>
          <a:r>
            <a:rPr lang="it-IT" sz="2600" b="0" kern="1200" cap="all" baseline="0" dirty="0">
              <a:solidFill>
                <a:srgbClr val="002855"/>
              </a:solidFill>
              <a:latin typeface="Arial"/>
              <a:ea typeface="ヒラギノ角ゴ ProN W6"/>
              <a:cs typeface="Arial"/>
            </a:rPr>
            <a:t>          UN SISTEMA DI WELFARE AGGREGATO</a:t>
          </a:r>
        </a:p>
      </dgm:t>
    </dgm:pt>
    <dgm:pt modelId="{734BD19E-BE11-4DC7-887A-95C30D95551E}" type="sibTrans" cxnId="{542D0273-F747-4522-8A82-0AAB74F38797}">
      <dgm:prSet/>
      <dgm:spPr/>
      <dgm:t>
        <a:bodyPr/>
        <a:lstStyle/>
        <a:p>
          <a:endParaRPr lang="it-IT"/>
        </a:p>
      </dgm:t>
    </dgm:pt>
    <dgm:pt modelId="{9247AC30-3555-40DA-8964-B853B6C5CB53}" type="parTrans" cxnId="{542D0273-F747-4522-8A82-0AAB74F38797}">
      <dgm:prSet/>
      <dgm:spPr/>
      <dgm:t>
        <a:bodyPr/>
        <a:lstStyle/>
        <a:p>
          <a:endParaRPr lang="it-IT"/>
        </a:p>
      </dgm:t>
    </dgm:pt>
    <dgm:pt modelId="{D16D6B4F-8813-48BD-88E9-066303E2C400}" type="pres">
      <dgm:prSet presAssocID="{3F0A785A-B69E-423E-8B43-C8C78EC1B4F4}" presName="Name0" presStyleCnt="0">
        <dgm:presLayoutVars>
          <dgm:chMax val="7"/>
          <dgm:chPref val="7"/>
          <dgm:dir/>
        </dgm:presLayoutVars>
      </dgm:prSet>
      <dgm:spPr/>
    </dgm:pt>
    <dgm:pt modelId="{40F83A5D-A77D-410D-AF33-2F56D310DE2C}" type="pres">
      <dgm:prSet presAssocID="{3F0A785A-B69E-423E-8B43-C8C78EC1B4F4}" presName="Name1" presStyleCnt="0"/>
      <dgm:spPr/>
    </dgm:pt>
    <dgm:pt modelId="{F91FE9E7-1B1D-4341-99CE-8289487E6CF6}" type="pres">
      <dgm:prSet presAssocID="{3F0A785A-B69E-423E-8B43-C8C78EC1B4F4}" presName="cycle" presStyleCnt="0"/>
      <dgm:spPr/>
    </dgm:pt>
    <dgm:pt modelId="{4F790DCE-E798-48CD-BF02-7F5D52F3C286}" type="pres">
      <dgm:prSet presAssocID="{3F0A785A-B69E-423E-8B43-C8C78EC1B4F4}" presName="srcNode" presStyleLbl="node1" presStyleIdx="0" presStyleCnt="4"/>
      <dgm:spPr/>
    </dgm:pt>
    <dgm:pt modelId="{B4CF5447-8073-4FE3-BB31-CBAC6B8CF5FE}" type="pres">
      <dgm:prSet presAssocID="{3F0A785A-B69E-423E-8B43-C8C78EC1B4F4}" presName="conn" presStyleLbl="parChTrans1D2" presStyleIdx="0" presStyleCnt="1"/>
      <dgm:spPr/>
    </dgm:pt>
    <dgm:pt modelId="{608A00AA-49D0-4D6C-B60F-44D1B07FB4AB}" type="pres">
      <dgm:prSet presAssocID="{3F0A785A-B69E-423E-8B43-C8C78EC1B4F4}" presName="extraNode" presStyleLbl="node1" presStyleIdx="0" presStyleCnt="4"/>
      <dgm:spPr/>
    </dgm:pt>
    <dgm:pt modelId="{E76D676C-C3F7-4913-8AF8-192B7B689932}" type="pres">
      <dgm:prSet presAssocID="{3F0A785A-B69E-423E-8B43-C8C78EC1B4F4}" presName="dstNode" presStyleLbl="node1" presStyleIdx="0" presStyleCnt="4"/>
      <dgm:spPr/>
    </dgm:pt>
    <dgm:pt modelId="{6A0B12D6-BF5C-4DAC-9370-FF9D9736A141}" type="pres">
      <dgm:prSet presAssocID="{21A70517-C0BD-447A-BC57-811A7D6CB8EE}" presName="text_1" presStyleLbl="node1" presStyleIdx="0" presStyleCnt="4">
        <dgm:presLayoutVars>
          <dgm:bulletEnabled val="1"/>
        </dgm:presLayoutVars>
      </dgm:prSet>
      <dgm:spPr/>
    </dgm:pt>
    <dgm:pt modelId="{33612DFD-9560-45B3-9859-8419788D21B6}" type="pres">
      <dgm:prSet presAssocID="{21A70517-C0BD-447A-BC57-811A7D6CB8EE}" presName="accent_1" presStyleCnt="0"/>
      <dgm:spPr/>
    </dgm:pt>
    <dgm:pt modelId="{4057D9B4-B9E7-4772-8F87-8945A388373A}" type="pres">
      <dgm:prSet presAssocID="{21A70517-C0BD-447A-BC57-811A7D6CB8EE}" presName="accentRepeatNode" presStyleLbl="solidFgAcc1" presStyleIdx="0" presStyleCnt="4" custScaleX="101205" custScaleY="106251" custLinFactNeighborX="-3139" custLinFactNeighborY="-1172"/>
      <dgm:spPr/>
    </dgm:pt>
    <dgm:pt modelId="{F7864C38-C65F-438A-9B50-57E67796C0FA}" type="pres">
      <dgm:prSet presAssocID="{AE9280BA-2A38-4F80-8310-FC53D63A2B22}" presName="text_2" presStyleLbl="node1" presStyleIdx="1" presStyleCnt="4" custScaleY="134361">
        <dgm:presLayoutVars>
          <dgm:bulletEnabled val="1"/>
        </dgm:presLayoutVars>
      </dgm:prSet>
      <dgm:spPr/>
    </dgm:pt>
    <dgm:pt modelId="{E10C33D7-22D6-43B1-B4EB-4D3B75C89CD4}" type="pres">
      <dgm:prSet presAssocID="{AE9280BA-2A38-4F80-8310-FC53D63A2B22}" presName="accent_2" presStyleCnt="0"/>
      <dgm:spPr/>
    </dgm:pt>
    <dgm:pt modelId="{632F0216-C512-4F95-974E-8E75C2CB0683}" type="pres">
      <dgm:prSet presAssocID="{AE9280BA-2A38-4F80-8310-FC53D63A2B22}" presName="accentRepeatNode" presStyleLbl="solidFgAcc1" presStyleIdx="1" presStyleCnt="4" custScaleX="110000" custScaleY="110000" custLinFactNeighborX="-1378" custLinFactNeighborY="123"/>
      <dgm:spPr/>
    </dgm:pt>
    <dgm:pt modelId="{B92E440E-C1AB-4665-B0AC-C25BB14EF02C}" type="pres">
      <dgm:prSet presAssocID="{B882D360-D1A6-4CAD-A2BC-639A44245584}" presName="text_3" presStyleLbl="node1" presStyleIdx="2" presStyleCnt="4" custScaleY="106516" custLinFactNeighborX="774" custLinFactNeighborY="-12179">
        <dgm:presLayoutVars>
          <dgm:bulletEnabled val="1"/>
        </dgm:presLayoutVars>
      </dgm:prSet>
      <dgm:spPr/>
    </dgm:pt>
    <dgm:pt modelId="{99E57F2D-BC8D-4C0A-89BE-45A13981829B}" type="pres">
      <dgm:prSet presAssocID="{B882D360-D1A6-4CAD-A2BC-639A44245584}" presName="accent_3" presStyleCnt="0"/>
      <dgm:spPr/>
    </dgm:pt>
    <dgm:pt modelId="{B9D5C7D6-AF73-46CB-B93D-5E1DB8121DAA}" type="pres">
      <dgm:prSet presAssocID="{B882D360-D1A6-4CAD-A2BC-639A44245584}" presName="accentRepeatNode" presStyleLbl="solidFgAcc1" presStyleIdx="2" presStyleCnt="4" custScaleX="118445" custScaleY="117781" custLinFactNeighborX="-3697" custLinFactNeighborY="-5404"/>
      <dgm:spPr/>
    </dgm:pt>
    <dgm:pt modelId="{FCDD08DB-F5AB-492D-AFAD-F8A4D7D2FBA1}" type="pres">
      <dgm:prSet presAssocID="{C12C6C52-716F-4C2A-8DDC-FB25A542C4CE}" presName="text_4" presStyleLbl="node1" presStyleIdx="3" presStyleCnt="4" custScaleY="122988">
        <dgm:presLayoutVars>
          <dgm:bulletEnabled val="1"/>
        </dgm:presLayoutVars>
      </dgm:prSet>
      <dgm:spPr/>
    </dgm:pt>
    <dgm:pt modelId="{1087ADE1-A623-44AF-B21D-07E12367E287}" type="pres">
      <dgm:prSet presAssocID="{C12C6C52-716F-4C2A-8DDC-FB25A542C4CE}" presName="accent_4" presStyleCnt="0"/>
      <dgm:spPr/>
    </dgm:pt>
    <dgm:pt modelId="{FF4D36E9-2A76-4020-BB1F-7146AA799899}" type="pres">
      <dgm:prSet presAssocID="{C12C6C52-716F-4C2A-8DDC-FB25A542C4CE}" presName="accentRepeatNode" presStyleLbl="solidFgAcc1" presStyleIdx="3" presStyleCnt="4" custScaleX="112632" custScaleY="112632"/>
      <dgm:spPr/>
    </dgm:pt>
  </dgm:ptLst>
  <dgm:cxnLst>
    <dgm:cxn modelId="{5B080606-55ED-41C6-909B-B3ADBADDADDC}" type="presOf" srcId="{AE9280BA-2A38-4F80-8310-FC53D63A2B22}" destId="{F7864C38-C65F-438A-9B50-57E67796C0FA}" srcOrd="0" destOrd="0" presId="urn:microsoft.com/office/officeart/2008/layout/VerticalCurvedList"/>
    <dgm:cxn modelId="{E3C8F84D-13D3-43DD-9416-C1A29C17004E}" type="presOf" srcId="{21A70517-C0BD-447A-BC57-811A7D6CB8EE}" destId="{6A0B12D6-BF5C-4DAC-9370-FF9D9736A141}" srcOrd="0" destOrd="0" presId="urn:microsoft.com/office/officeart/2008/layout/VerticalCurvedList"/>
    <dgm:cxn modelId="{542D0273-F747-4522-8A82-0AAB74F38797}" srcId="{3F0A785A-B69E-423E-8B43-C8C78EC1B4F4}" destId="{B882D360-D1A6-4CAD-A2BC-639A44245584}" srcOrd="2" destOrd="0" parTransId="{9247AC30-3555-40DA-8964-B853B6C5CB53}" sibTransId="{734BD19E-BE11-4DC7-887A-95C30D95551E}"/>
    <dgm:cxn modelId="{F917DD87-9E8E-4F40-AEB7-9A3755F9FC88}" type="presOf" srcId="{3F0A785A-B69E-423E-8B43-C8C78EC1B4F4}" destId="{D16D6B4F-8813-48BD-88E9-066303E2C400}" srcOrd="0" destOrd="0" presId="urn:microsoft.com/office/officeart/2008/layout/VerticalCurvedList"/>
    <dgm:cxn modelId="{A018BB91-F130-4C25-B442-E60092BB639A}" srcId="{3F0A785A-B69E-423E-8B43-C8C78EC1B4F4}" destId="{C12C6C52-716F-4C2A-8DDC-FB25A542C4CE}" srcOrd="3" destOrd="0" parTransId="{7D83333B-33D9-4564-BA46-BDB0192DEEE9}" sibTransId="{BDD38B21-DE0A-4932-858B-DDCCD53F89CF}"/>
    <dgm:cxn modelId="{1127B895-F0CC-4E5C-8FB6-4EBD2796BFC1}" srcId="{3F0A785A-B69E-423E-8B43-C8C78EC1B4F4}" destId="{21A70517-C0BD-447A-BC57-811A7D6CB8EE}" srcOrd="0" destOrd="0" parTransId="{10D5B9C9-3F26-4C14-8847-67D7A6AAC809}" sibTransId="{D018338E-DA44-456F-AFE1-51AF9EDB9AA3}"/>
    <dgm:cxn modelId="{65E584AE-F61C-4118-B573-DC28818B3488}" srcId="{3F0A785A-B69E-423E-8B43-C8C78EC1B4F4}" destId="{AE9280BA-2A38-4F80-8310-FC53D63A2B22}" srcOrd="1" destOrd="0" parTransId="{41356E58-DA55-4996-86C0-4B7D8F9B2659}" sibTransId="{075AAFC7-61AF-4FF6-BC91-DA99BB25600A}"/>
    <dgm:cxn modelId="{595746B8-DD98-4946-BE1B-3CA4DF50E2B1}" type="presOf" srcId="{B882D360-D1A6-4CAD-A2BC-639A44245584}" destId="{B92E440E-C1AB-4665-B0AC-C25BB14EF02C}" srcOrd="0" destOrd="0" presId="urn:microsoft.com/office/officeart/2008/layout/VerticalCurvedList"/>
    <dgm:cxn modelId="{B90B2FE3-4986-4DF0-9596-E31040FEC950}" type="presOf" srcId="{C12C6C52-716F-4C2A-8DDC-FB25A542C4CE}" destId="{FCDD08DB-F5AB-492D-AFAD-F8A4D7D2FBA1}" srcOrd="0" destOrd="0" presId="urn:microsoft.com/office/officeart/2008/layout/VerticalCurvedList"/>
    <dgm:cxn modelId="{6B29D7ED-0142-4E4D-B7D8-A2A7BE20E08C}" type="presOf" srcId="{D018338E-DA44-456F-AFE1-51AF9EDB9AA3}" destId="{B4CF5447-8073-4FE3-BB31-CBAC6B8CF5FE}" srcOrd="0" destOrd="0" presId="urn:microsoft.com/office/officeart/2008/layout/VerticalCurvedList"/>
    <dgm:cxn modelId="{026254C6-C1F9-4249-A1F0-05AE2147300F}" type="presParOf" srcId="{D16D6B4F-8813-48BD-88E9-066303E2C400}" destId="{40F83A5D-A77D-410D-AF33-2F56D310DE2C}" srcOrd="0" destOrd="0" presId="urn:microsoft.com/office/officeart/2008/layout/VerticalCurvedList"/>
    <dgm:cxn modelId="{3E6B79C8-C6DF-489F-8D88-1259C290E7E6}" type="presParOf" srcId="{40F83A5D-A77D-410D-AF33-2F56D310DE2C}" destId="{F91FE9E7-1B1D-4341-99CE-8289487E6CF6}" srcOrd="0" destOrd="0" presId="urn:microsoft.com/office/officeart/2008/layout/VerticalCurvedList"/>
    <dgm:cxn modelId="{95D134DE-E9BC-4B15-AA95-A8183466CB86}" type="presParOf" srcId="{F91FE9E7-1B1D-4341-99CE-8289487E6CF6}" destId="{4F790DCE-E798-48CD-BF02-7F5D52F3C286}" srcOrd="0" destOrd="0" presId="urn:microsoft.com/office/officeart/2008/layout/VerticalCurvedList"/>
    <dgm:cxn modelId="{8B878737-3039-4802-94D8-D8EED6159D29}" type="presParOf" srcId="{F91FE9E7-1B1D-4341-99CE-8289487E6CF6}" destId="{B4CF5447-8073-4FE3-BB31-CBAC6B8CF5FE}" srcOrd="1" destOrd="0" presId="urn:microsoft.com/office/officeart/2008/layout/VerticalCurvedList"/>
    <dgm:cxn modelId="{B9AFF2FD-ADA5-41BC-854F-F4136A4631DC}" type="presParOf" srcId="{F91FE9E7-1B1D-4341-99CE-8289487E6CF6}" destId="{608A00AA-49D0-4D6C-B60F-44D1B07FB4AB}" srcOrd="2" destOrd="0" presId="urn:microsoft.com/office/officeart/2008/layout/VerticalCurvedList"/>
    <dgm:cxn modelId="{70156B58-F8DF-40DB-A54B-460E32EE3EDF}" type="presParOf" srcId="{F91FE9E7-1B1D-4341-99CE-8289487E6CF6}" destId="{E76D676C-C3F7-4913-8AF8-192B7B689932}" srcOrd="3" destOrd="0" presId="urn:microsoft.com/office/officeart/2008/layout/VerticalCurvedList"/>
    <dgm:cxn modelId="{A1E0CB6A-029B-4226-B2D5-3EA11748D0FC}" type="presParOf" srcId="{40F83A5D-A77D-410D-AF33-2F56D310DE2C}" destId="{6A0B12D6-BF5C-4DAC-9370-FF9D9736A141}" srcOrd="1" destOrd="0" presId="urn:microsoft.com/office/officeart/2008/layout/VerticalCurvedList"/>
    <dgm:cxn modelId="{78FC4381-0FC9-4147-B62C-02BBE897D09D}" type="presParOf" srcId="{40F83A5D-A77D-410D-AF33-2F56D310DE2C}" destId="{33612DFD-9560-45B3-9859-8419788D21B6}" srcOrd="2" destOrd="0" presId="urn:microsoft.com/office/officeart/2008/layout/VerticalCurvedList"/>
    <dgm:cxn modelId="{F3AF5CF9-02B2-4B60-A229-120E37A14AB7}" type="presParOf" srcId="{33612DFD-9560-45B3-9859-8419788D21B6}" destId="{4057D9B4-B9E7-4772-8F87-8945A388373A}" srcOrd="0" destOrd="0" presId="urn:microsoft.com/office/officeart/2008/layout/VerticalCurvedList"/>
    <dgm:cxn modelId="{B873BF5A-735E-49DE-932C-FCB494B3A922}" type="presParOf" srcId="{40F83A5D-A77D-410D-AF33-2F56D310DE2C}" destId="{F7864C38-C65F-438A-9B50-57E67796C0FA}" srcOrd="3" destOrd="0" presId="urn:microsoft.com/office/officeart/2008/layout/VerticalCurvedList"/>
    <dgm:cxn modelId="{EF40C06A-2ADF-4045-8538-6B853D75183C}" type="presParOf" srcId="{40F83A5D-A77D-410D-AF33-2F56D310DE2C}" destId="{E10C33D7-22D6-43B1-B4EB-4D3B75C89CD4}" srcOrd="4" destOrd="0" presId="urn:microsoft.com/office/officeart/2008/layout/VerticalCurvedList"/>
    <dgm:cxn modelId="{26668198-B85C-4D1B-8F59-696F7D5AB41A}" type="presParOf" srcId="{E10C33D7-22D6-43B1-B4EB-4D3B75C89CD4}" destId="{632F0216-C512-4F95-974E-8E75C2CB0683}" srcOrd="0" destOrd="0" presId="urn:microsoft.com/office/officeart/2008/layout/VerticalCurvedList"/>
    <dgm:cxn modelId="{14B1BB9F-D9D4-4761-AC3A-CBCD25B533AF}" type="presParOf" srcId="{40F83A5D-A77D-410D-AF33-2F56D310DE2C}" destId="{B92E440E-C1AB-4665-B0AC-C25BB14EF02C}" srcOrd="5" destOrd="0" presId="urn:microsoft.com/office/officeart/2008/layout/VerticalCurvedList"/>
    <dgm:cxn modelId="{41F979BF-ACFE-4E93-98BA-D03C8E379745}" type="presParOf" srcId="{40F83A5D-A77D-410D-AF33-2F56D310DE2C}" destId="{99E57F2D-BC8D-4C0A-89BE-45A13981829B}" srcOrd="6" destOrd="0" presId="urn:microsoft.com/office/officeart/2008/layout/VerticalCurvedList"/>
    <dgm:cxn modelId="{2D15AF9F-BF3A-46C2-8D7A-221A39DA011A}" type="presParOf" srcId="{99E57F2D-BC8D-4C0A-89BE-45A13981829B}" destId="{B9D5C7D6-AF73-46CB-B93D-5E1DB8121DAA}" srcOrd="0" destOrd="0" presId="urn:microsoft.com/office/officeart/2008/layout/VerticalCurvedList"/>
    <dgm:cxn modelId="{864C5B3E-C79B-4FC7-BA58-2902E47B2C89}" type="presParOf" srcId="{40F83A5D-A77D-410D-AF33-2F56D310DE2C}" destId="{FCDD08DB-F5AB-492D-AFAD-F8A4D7D2FBA1}" srcOrd="7" destOrd="0" presId="urn:microsoft.com/office/officeart/2008/layout/VerticalCurvedList"/>
    <dgm:cxn modelId="{79C857A1-9CBA-48AF-918D-FCACBF5B20A3}" type="presParOf" srcId="{40F83A5D-A77D-410D-AF33-2F56D310DE2C}" destId="{1087ADE1-A623-44AF-B21D-07E12367E287}" srcOrd="8" destOrd="0" presId="urn:microsoft.com/office/officeart/2008/layout/VerticalCurvedList"/>
    <dgm:cxn modelId="{0F00CCAA-CD4B-45CB-9DE3-B868B5ECCCE9}" type="presParOf" srcId="{1087ADE1-A623-44AF-B21D-07E12367E287}" destId="{FF4D36E9-2A76-4020-BB1F-7146AA799899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9FB5E19-875A-4CF3-880E-8AFC9D1C8C2E}" type="doc">
      <dgm:prSet loTypeId="urn:microsoft.com/office/officeart/2005/8/layout/hProcess9" loCatId="process" qsTypeId="urn:microsoft.com/office/officeart/2005/8/quickstyle/3d2" qsCatId="3D" csTypeId="urn:microsoft.com/office/officeart/2005/8/colors/accent1_2" csCatId="accent1" phldr="1"/>
      <dgm:spPr/>
    </dgm:pt>
    <dgm:pt modelId="{BED0DE82-3599-434A-A256-447C7A733D68}">
      <dgm:prSet phldrT="[Testo]"/>
      <dgm:spPr/>
      <dgm:t>
        <a:bodyPr/>
        <a:lstStyle/>
        <a:p>
          <a:r>
            <a:rPr lang="it-IT" dirty="0"/>
            <a:t>Ente costruttore</a:t>
          </a:r>
        </a:p>
      </dgm:t>
    </dgm:pt>
    <dgm:pt modelId="{908F2B96-92E3-4F84-9DBD-FF992DE59413}" type="parTrans" cxnId="{00B02CD9-3455-4FF4-A690-E969DBA4066F}">
      <dgm:prSet/>
      <dgm:spPr/>
      <dgm:t>
        <a:bodyPr/>
        <a:lstStyle/>
        <a:p>
          <a:endParaRPr lang="it-IT"/>
        </a:p>
      </dgm:t>
    </dgm:pt>
    <dgm:pt modelId="{203AE039-999B-4E00-B05F-2765E0046388}" type="sibTrans" cxnId="{00B02CD9-3455-4FF4-A690-E969DBA4066F}">
      <dgm:prSet/>
      <dgm:spPr/>
      <dgm:t>
        <a:bodyPr/>
        <a:lstStyle/>
        <a:p>
          <a:endParaRPr lang="it-IT"/>
        </a:p>
      </dgm:t>
    </dgm:pt>
    <dgm:pt modelId="{A24C16AE-1A59-41D8-B6AE-619264360DC5}">
      <dgm:prSet phldrT="[Testo]"/>
      <dgm:spPr/>
      <dgm:t>
        <a:bodyPr/>
        <a:lstStyle/>
        <a:p>
          <a:r>
            <a:rPr lang="it-IT" dirty="0"/>
            <a:t>Ente gestore</a:t>
          </a:r>
        </a:p>
      </dgm:t>
    </dgm:pt>
    <dgm:pt modelId="{10235A56-EBCD-456B-A7D3-C719CE858819}" type="parTrans" cxnId="{718F6BA4-9BB6-43C2-B260-3B3943E00871}">
      <dgm:prSet/>
      <dgm:spPr/>
      <dgm:t>
        <a:bodyPr/>
        <a:lstStyle/>
        <a:p>
          <a:endParaRPr lang="it-IT"/>
        </a:p>
      </dgm:t>
    </dgm:pt>
    <dgm:pt modelId="{B5009F81-4DFF-4228-A1EB-6D8894F03829}" type="sibTrans" cxnId="{718F6BA4-9BB6-43C2-B260-3B3943E00871}">
      <dgm:prSet/>
      <dgm:spPr/>
      <dgm:t>
        <a:bodyPr/>
        <a:lstStyle/>
        <a:p>
          <a:endParaRPr lang="it-IT"/>
        </a:p>
      </dgm:t>
    </dgm:pt>
    <dgm:pt modelId="{3CE8D479-5A0E-427F-A2D6-214B88540B71}">
      <dgm:prSet phldrT="[Testo]"/>
      <dgm:spPr/>
      <dgm:t>
        <a:bodyPr/>
        <a:lstStyle/>
        <a:p>
          <a:r>
            <a:rPr lang="it-IT" dirty="0"/>
            <a:t>Ente erogatore di servizi</a:t>
          </a:r>
        </a:p>
      </dgm:t>
    </dgm:pt>
    <dgm:pt modelId="{51DB8D58-82AF-488B-BC7D-EE1E4AFAE0B7}" type="parTrans" cxnId="{C0EBEC52-9C3A-4D85-994A-C19B0FAEB5B0}">
      <dgm:prSet/>
      <dgm:spPr/>
      <dgm:t>
        <a:bodyPr/>
        <a:lstStyle/>
        <a:p>
          <a:endParaRPr lang="it-IT"/>
        </a:p>
      </dgm:t>
    </dgm:pt>
    <dgm:pt modelId="{014C49C1-1932-4C62-B6B3-514C1BDD91B7}" type="sibTrans" cxnId="{C0EBEC52-9C3A-4D85-994A-C19B0FAEB5B0}">
      <dgm:prSet/>
      <dgm:spPr/>
      <dgm:t>
        <a:bodyPr/>
        <a:lstStyle/>
        <a:p>
          <a:endParaRPr lang="it-IT"/>
        </a:p>
      </dgm:t>
    </dgm:pt>
    <dgm:pt modelId="{9354BFA1-64B7-4A5A-9CB9-67D220CE36C3}" type="pres">
      <dgm:prSet presAssocID="{29FB5E19-875A-4CF3-880E-8AFC9D1C8C2E}" presName="CompostProcess" presStyleCnt="0">
        <dgm:presLayoutVars>
          <dgm:dir/>
          <dgm:resizeHandles val="exact"/>
        </dgm:presLayoutVars>
      </dgm:prSet>
      <dgm:spPr/>
    </dgm:pt>
    <dgm:pt modelId="{1C49A508-FA73-4CD8-A2BA-F214D3B30F00}" type="pres">
      <dgm:prSet presAssocID="{29FB5E19-875A-4CF3-880E-8AFC9D1C8C2E}" presName="arrow" presStyleLbl="bgShp" presStyleIdx="0" presStyleCnt="1"/>
      <dgm:spPr/>
    </dgm:pt>
    <dgm:pt modelId="{4B54FADA-D0C8-4CA9-AA38-9665566D1712}" type="pres">
      <dgm:prSet presAssocID="{29FB5E19-875A-4CF3-880E-8AFC9D1C8C2E}" presName="linearProcess" presStyleCnt="0"/>
      <dgm:spPr/>
    </dgm:pt>
    <dgm:pt modelId="{EA069FA8-4C6E-4CBC-B7D4-76B53C294265}" type="pres">
      <dgm:prSet presAssocID="{BED0DE82-3599-434A-A256-447C7A733D68}" presName="textNode" presStyleLbl="node1" presStyleIdx="0" presStyleCnt="3">
        <dgm:presLayoutVars>
          <dgm:bulletEnabled val="1"/>
        </dgm:presLayoutVars>
      </dgm:prSet>
      <dgm:spPr/>
    </dgm:pt>
    <dgm:pt modelId="{434E3236-AF75-49BB-BF82-15BE6C1342C8}" type="pres">
      <dgm:prSet presAssocID="{203AE039-999B-4E00-B05F-2765E0046388}" presName="sibTrans" presStyleCnt="0"/>
      <dgm:spPr/>
    </dgm:pt>
    <dgm:pt modelId="{80EAA840-1486-4DB5-BDEB-7E0EA11889FA}" type="pres">
      <dgm:prSet presAssocID="{A24C16AE-1A59-41D8-B6AE-619264360DC5}" presName="textNode" presStyleLbl="node1" presStyleIdx="1" presStyleCnt="3">
        <dgm:presLayoutVars>
          <dgm:bulletEnabled val="1"/>
        </dgm:presLayoutVars>
      </dgm:prSet>
      <dgm:spPr/>
    </dgm:pt>
    <dgm:pt modelId="{9075C9FC-4605-481E-9EC1-D6A3D3BF6B0A}" type="pres">
      <dgm:prSet presAssocID="{B5009F81-4DFF-4228-A1EB-6D8894F03829}" presName="sibTrans" presStyleCnt="0"/>
      <dgm:spPr/>
    </dgm:pt>
    <dgm:pt modelId="{8CA51D69-4C23-4A6C-AA8B-E3C92309BA98}" type="pres">
      <dgm:prSet presAssocID="{3CE8D479-5A0E-427F-A2D6-214B88540B71}" presName="textNode" presStyleLbl="node1" presStyleIdx="2" presStyleCnt="3">
        <dgm:presLayoutVars>
          <dgm:bulletEnabled val="1"/>
        </dgm:presLayoutVars>
      </dgm:prSet>
      <dgm:spPr/>
    </dgm:pt>
  </dgm:ptLst>
  <dgm:cxnLst>
    <dgm:cxn modelId="{D1978668-736A-4C8C-AF53-EFF8E8E8B9A6}" type="presOf" srcId="{29FB5E19-875A-4CF3-880E-8AFC9D1C8C2E}" destId="{9354BFA1-64B7-4A5A-9CB9-67D220CE36C3}" srcOrd="0" destOrd="0" presId="urn:microsoft.com/office/officeart/2005/8/layout/hProcess9"/>
    <dgm:cxn modelId="{691AE251-B35F-4DF3-B7AC-8145BD85EF01}" type="presOf" srcId="{3CE8D479-5A0E-427F-A2D6-214B88540B71}" destId="{8CA51D69-4C23-4A6C-AA8B-E3C92309BA98}" srcOrd="0" destOrd="0" presId="urn:microsoft.com/office/officeart/2005/8/layout/hProcess9"/>
    <dgm:cxn modelId="{C0EBEC52-9C3A-4D85-994A-C19B0FAEB5B0}" srcId="{29FB5E19-875A-4CF3-880E-8AFC9D1C8C2E}" destId="{3CE8D479-5A0E-427F-A2D6-214B88540B71}" srcOrd="2" destOrd="0" parTransId="{51DB8D58-82AF-488B-BC7D-EE1E4AFAE0B7}" sibTransId="{014C49C1-1932-4C62-B6B3-514C1BDD91B7}"/>
    <dgm:cxn modelId="{718F6BA4-9BB6-43C2-B260-3B3943E00871}" srcId="{29FB5E19-875A-4CF3-880E-8AFC9D1C8C2E}" destId="{A24C16AE-1A59-41D8-B6AE-619264360DC5}" srcOrd="1" destOrd="0" parTransId="{10235A56-EBCD-456B-A7D3-C719CE858819}" sibTransId="{B5009F81-4DFF-4228-A1EB-6D8894F03829}"/>
    <dgm:cxn modelId="{FE22E2A8-277A-4141-9566-612B38E95CA6}" type="presOf" srcId="{A24C16AE-1A59-41D8-B6AE-619264360DC5}" destId="{80EAA840-1486-4DB5-BDEB-7E0EA11889FA}" srcOrd="0" destOrd="0" presId="urn:microsoft.com/office/officeart/2005/8/layout/hProcess9"/>
    <dgm:cxn modelId="{00B02CD9-3455-4FF4-A690-E969DBA4066F}" srcId="{29FB5E19-875A-4CF3-880E-8AFC9D1C8C2E}" destId="{BED0DE82-3599-434A-A256-447C7A733D68}" srcOrd="0" destOrd="0" parTransId="{908F2B96-92E3-4F84-9DBD-FF992DE59413}" sibTransId="{203AE039-999B-4E00-B05F-2765E0046388}"/>
    <dgm:cxn modelId="{D10139DA-6DB9-4B3D-A61E-638A7F351F34}" type="presOf" srcId="{BED0DE82-3599-434A-A256-447C7A733D68}" destId="{EA069FA8-4C6E-4CBC-B7D4-76B53C294265}" srcOrd="0" destOrd="0" presId="urn:microsoft.com/office/officeart/2005/8/layout/hProcess9"/>
    <dgm:cxn modelId="{F74B0994-952F-4309-A4E7-7B75CE91E134}" type="presParOf" srcId="{9354BFA1-64B7-4A5A-9CB9-67D220CE36C3}" destId="{1C49A508-FA73-4CD8-A2BA-F214D3B30F00}" srcOrd="0" destOrd="0" presId="urn:microsoft.com/office/officeart/2005/8/layout/hProcess9"/>
    <dgm:cxn modelId="{EE772787-55DC-4609-8168-BA85978BBC73}" type="presParOf" srcId="{9354BFA1-64B7-4A5A-9CB9-67D220CE36C3}" destId="{4B54FADA-D0C8-4CA9-AA38-9665566D1712}" srcOrd="1" destOrd="0" presId="urn:microsoft.com/office/officeart/2005/8/layout/hProcess9"/>
    <dgm:cxn modelId="{4FF6895D-61D2-47D0-828C-B7FC476D8010}" type="presParOf" srcId="{4B54FADA-D0C8-4CA9-AA38-9665566D1712}" destId="{EA069FA8-4C6E-4CBC-B7D4-76B53C294265}" srcOrd="0" destOrd="0" presId="urn:microsoft.com/office/officeart/2005/8/layout/hProcess9"/>
    <dgm:cxn modelId="{D75878A7-B1F5-4266-8E2A-F4CFB47895BD}" type="presParOf" srcId="{4B54FADA-D0C8-4CA9-AA38-9665566D1712}" destId="{434E3236-AF75-49BB-BF82-15BE6C1342C8}" srcOrd="1" destOrd="0" presId="urn:microsoft.com/office/officeart/2005/8/layout/hProcess9"/>
    <dgm:cxn modelId="{7817984E-C73B-47EC-9891-4E002EDF91FC}" type="presParOf" srcId="{4B54FADA-D0C8-4CA9-AA38-9665566D1712}" destId="{80EAA840-1486-4DB5-BDEB-7E0EA11889FA}" srcOrd="2" destOrd="0" presId="urn:microsoft.com/office/officeart/2005/8/layout/hProcess9"/>
    <dgm:cxn modelId="{308DA366-DF16-481F-B04C-3FAAACE98F7B}" type="presParOf" srcId="{4B54FADA-D0C8-4CA9-AA38-9665566D1712}" destId="{9075C9FC-4605-481E-9EC1-D6A3D3BF6B0A}" srcOrd="3" destOrd="0" presId="urn:microsoft.com/office/officeart/2005/8/layout/hProcess9"/>
    <dgm:cxn modelId="{6F508F02-4BB8-4DBD-A638-3ECFC087F47B}" type="presParOf" srcId="{4B54FADA-D0C8-4CA9-AA38-9665566D1712}" destId="{8CA51D69-4C23-4A6C-AA8B-E3C92309BA98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B3EF664-A10F-4F61-87E9-B962E1317A37}" type="doc">
      <dgm:prSet loTypeId="urn:microsoft.com/office/officeart/2018/5/layout/IconCircleLabelList#1" loCatId="icon" qsTypeId="urn:microsoft.com/office/officeart/2005/8/quickstyle/simple1" qsCatId="simple" csTypeId="urn:microsoft.com/office/officeart/2018/5/colors/Iconchunking_neutralicon_colorful1" csCatId="colorful" phldr="1"/>
      <dgm:spPr/>
      <dgm:t>
        <a:bodyPr rtlCol="0"/>
        <a:lstStyle/>
        <a:p>
          <a:pPr rtl="0"/>
          <a:endParaRPr lang="en-US"/>
        </a:p>
      </dgm:t>
    </dgm:pt>
    <dgm:pt modelId="{31A69854-7566-4412-A31D-81234E9B8C14}">
      <dgm:prSet custT="1"/>
      <dgm:spPr/>
      <dgm:t>
        <a:bodyPr/>
        <a:lstStyle/>
        <a:p>
          <a:r>
            <a:rPr lang="it-IT" sz="2400" b="0" cap="none" baseline="0" noProof="0" dirty="0">
              <a:solidFill>
                <a:srgbClr val="002855"/>
              </a:solidFill>
              <a:latin typeface="Arial"/>
              <a:ea typeface="ヒラギノ角ゴ ProN W6"/>
              <a:cs typeface="Arial"/>
            </a:rPr>
            <a:t>Ricerca di partnership di Rete</a:t>
          </a:r>
          <a:endParaRPr lang="it-IT" sz="2400" noProof="0" dirty="0"/>
        </a:p>
      </dgm:t>
    </dgm:pt>
    <dgm:pt modelId="{5565F0F1-4759-426E-A93D-D788C6B1834D}" type="parTrans" cxnId="{C153F2C4-27C7-4F67-B59D-21B1E7599AB9}">
      <dgm:prSet/>
      <dgm:spPr/>
      <dgm:t>
        <a:bodyPr rtlCol="0"/>
        <a:lstStyle/>
        <a:p>
          <a:pPr rtl="0"/>
          <a:endParaRPr lang="it-IT" noProof="0"/>
        </a:p>
      </dgm:t>
    </dgm:pt>
    <dgm:pt modelId="{A9FB573E-5C39-4200-AE81-986E8B2899A1}" type="sibTrans" cxnId="{C153F2C4-27C7-4F67-B59D-21B1E7599AB9}">
      <dgm:prSet/>
      <dgm:spPr/>
      <dgm:t>
        <a:bodyPr rtlCol="0"/>
        <a:lstStyle/>
        <a:p>
          <a:pPr rtl="0"/>
          <a:endParaRPr lang="it-IT" noProof="0"/>
        </a:p>
      </dgm:t>
    </dgm:pt>
    <dgm:pt modelId="{70AAB01F-1F3F-4239-BB51-C836817025E3}">
      <dgm:prSet custT="1"/>
      <dgm:spPr/>
      <dgm:t>
        <a:bodyPr/>
        <a:lstStyle/>
        <a:p>
          <a:pPr>
            <a:buNone/>
          </a:pPr>
          <a:r>
            <a:rPr lang="it-IT" sz="2400" b="0" cap="none" baseline="0" noProof="0" dirty="0">
              <a:solidFill>
                <a:srgbClr val="002855"/>
              </a:solidFill>
              <a:latin typeface="Arial"/>
              <a:ea typeface="+mj-ea"/>
              <a:cs typeface="Arial"/>
              <a:sym typeface="Verdana Bold" panose="020B0804030504040204" pitchFamily="34" charset="0"/>
            </a:rPr>
            <a:t>Coerenza delle caratteristiche dei servizi rispetto ai bisogni</a:t>
          </a:r>
          <a:endParaRPr lang="it-IT" sz="2400" noProof="0" dirty="0"/>
        </a:p>
      </dgm:t>
    </dgm:pt>
    <dgm:pt modelId="{60249235-DC8C-405B-AC8E-676465FD62B7}" type="parTrans" cxnId="{66ABC6C2-DAA8-4BBD-A2CD-5B08247D6969}">
      <dgm:prSet/>
      <dgm:spPr/>
      <dgm:t>
        <a:bodyPr rtlCol="0"/>
        <a:lstStyle/>
        <a:p>
          <a:pPr rtl="0"/>
          <a:endParaRPr lang="it-IT" noProof="0"/>
        </a:p>
      </dgm:t>
    </dgm:pt>
    <dgm:pt modelId="{A802530E-2788-4B70-8347-C4EFA40311A1}" type="sibTrans" cxnId="{66ABC6C2-DAA8-4BBD-A2CD-5B08247D6969}">
      <dgm:prSet/>
      <dgm:spPr/>
      <dgm:t>
        <a:bodyPr rtlCol="0"/>
        <a:lstStyle/>
        <a:p>
          <a:pPr rtl="0"/>
          <a:endParaRPr lang="it-IT" noProof="0"/>
        </a:p>
      </dgm:t>
    </dgm:pt>
    <dgm:pt modelId="{F1D9C275-1E4B-40E9-8FA5-90D49683C289}">
      <dgm:prSet custT="1"/>
      <dgm:spPr/>
      <dgm:t>
        <a:bodyPr/>
        <a:lstStyle/>
        <a:p>
          <a:pPr>
            <a:buNone/>
          </a:pPr>
          <a:r>
            <a:rPr lang="it-IT" sz="2400" b="0" kern="1200" cap="none" baseline="0" noProof="0" dirty="0">
              <a:solidFill>
                <a:srgbClr val="002855"/>
              </a:solidFill>
              <a:latin typeface="Arial"/>
              <a:ea typeface="+mj-ea"/>
              <a:cs typeface="Arial"/>
              <a:sym typeface="Verdana Bold" panose="020B0804030504040204" pitchFamily="34" charset="0"/>
            </a:rPr>
            <a:t>Ricerca della  sostenibilità di medio periodo</a:t>
          </a:r>
          <a:endParaRPr lang="it-IT" sz="2400" b="0" kern="1200" cap="none" baseline="0" noProof="0" dirty="0">
            <a:solidFill>
              <a:srgbClr val="002855"/>
            </a:solidFill>
            <a:latin typeface="Arial"/>
            <a:ea typeface="ヒラギノ角ゴ ProN W6"/>
            <a:cs typeface="Arial"/>
          </a:endParaRPr>
        </a:p>
      </dgm:t>
    </dgm:pt>
    <dgm:pt modelId="{9C0328EF-E0B3-46D2-8D34-FBD9C9204230}" type="parTrans" cxnId="{0606E161-41D1-4B3A-BC3B-E677E85EFE9B}">
      <dgm:prSet/>
      <dgm:spPr/>
      <dgm:t>
        <a:bodyPr rtlCol="0"/>
        <a:lstStyle/>
        <a:p>
          <a:pPr rtl="0"/>
          <a:endParaRPr lang="it-IT" noProof="0"/>
        </a:p>
      </dgm:t>
    </dgm:pt>
    <dgm:pt modelId="{7142EB2F-6B3E-439E-A19D-B6E391266445}" type="sibTrans" cxnId="{0606E161-41D1-4B3A-BC3B-E677E85EFE9B}">
      <dgm:prSet/>
      <dgm:spPr/>
      <dgm:t>
        <a:bodyPr rtlCol="0"/>
        <a:lstStyle/>
        <a:p>
          <a:pPr rtl="0"/>
          <a:endParaRPr lang="it-IT" noProof="0"/>
        </a:p>
      </dgm:t>
    </dgm:pt>
    <dgm:pt modelId="{0E8A49A6-8E18-4048-9FDA-610A17570EF0}" type="pres">
      <dgm:prSet presAssocID="{AB3EF664-A10F-4F61-87E9-B962E1317A37}" presName="root" presStyleCnt="0">
        <dgm:presLayoutVars>
          <dgm:dir/>
          <dgm:resizeHandles val="exact"/>
        </dgm:presLayoutVars>
      </dgm:prSet>
      <dgm:spPr/>
    </dgm:pt>
    <dgm:pt modelId="{9A68BBF8-A3E0-4E2F-B71B-1F2155ACCE48}" type="pres">
      <dgm:prSet presAssocID="{31A69854-7566-4412-A31D-81234E9B8C14}" presName="compNode" presStyleCnt="0"/>
      <dgm:spPr/>
    </dgm:pt>
    <dgm:pt modelId="{A862FEE0-5D38-41BA-91F4-C685EFB92C04}" type="pres">
      <dgm:prSet presAssocID="{31A69854-7566-4412-A31D-81234E9B8C14}" presName="iconBgRect" presStyleLbl="bgShp" presStyleIdx="0" presStyleCnt="3" custLinFactNeighborX="-1552" custLinFactNeighborY="-1487"/>
      <dgm:spPr>
        <a:solidFill>
          <a:srgbClr val="FFFF00"/>
        </a:solidFill>
      </dgm:spPr>
    </dgm:pt>
    <dgm:pt modelId="{A947F9BA-7C22-4CAB-8F98-954D0477F8C4}" type="pres">
      <dgm:prSet presAssocID="{31A69854-7566-4412-A31D-81234E9B8C14}" presName="iconRect" presStyleLbl="node1" presStyleIdx="0" presStyleCnt="3" custScaleX="120755" custScaleY="103504" custLinFactNeighborX="-1197" custLinFactNeighborY="2528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2000" r="-32000"/>
          </a:stretch>
        </a:blipFill>
        <a:ln>
          <a:noFill/>
        </a:ln>
      </dgm:spPr>
    </dgm:pt>
    <dgm:pt modelId="{CC61AF29-DEA5-4C49-B50F-0E6750CA25F3}" type="pres">
      <dgm:prSet presAssocID="{31A69854-7566-4412-A31D-81234E9B8C14}" presName="spaceRect" presStyleCnt="0"/>
      <dgm:spPr/>
    </dgm:pt>
    <dgm:pt modelId="{9AA7F644-CA99-4D1C-AC22-9A40CAD36E45}" type="pres">
      <dgm:prSet presAssocID="{31A69854-7566-4412-A31D-81234E9B8C14}" presName="textRect" presStyleLbl="revTx" presStyleIdx="0" presStyleCnt="3">
        <dgm:presLayoutVars>
          <dgm:chMax val="1"/>
          <dgm:chPref val="1"/>
        </dgm:presLayoutVars>
      </dgm:prSet>
      <dgm:spPr/>
    </dgm:pt>
    <dgm:pt modelId="{46E12DA7-C0E4-4117-A680-978BC683C788}" type="pres">
      <dgm:prSet presAssocID="{A9FB573E-5C39-4200-AE81-986E8B2899A1}" presName="sibTrans" presStyleCnt="0"/>
      <dgm:spPr/>
    </dgm:pt>
    <dgm:pt modelId="{AEFD6563-DF4B-4A42-B09B-B4C19EE3FCBB}" type="pres">
      <dgm:prSet presAssocID="{70AAB01F-1F3F-4239-BB51-C836817025E3}" presName="compNode" presStyleCnt="0"/>
      <dgm:spPr/>
    </dgm:pt>
    <dgm:pt modelId="{395704C5-F946-462D-A69C-EF9F9736D2B0}" type="pres">
      <dgm:prSet presAssocID="{70AAB01F-1F3F-4239-BB51-C836817025E3}" presName="iconBgRect" presStyleLbl="bgShp" presStyleIdx="1" presStyleCnt="3"/>
      <dgm:spPr>
        <a:solidFill>
          <a:srgbClr val="00FF99"/>
        </a:solidFill>
      </dgm:spPr>
    </dgm:pt>
    <dgm:pt modelId="{965E6294-B2C0-4C55-828B-784B823F312F}" type="pres">
      <dgm:prSet presAssocID="{70AAB01F-1F3F-4239-BB51-C836817025E3}" presName="iconRect" presStyleLbl="node1" presStyleIdx="1" presStyleCnt="3" custScaleX="120755" custScaleY="103537" custLinFactNeighborX="-1678" custLinFactNeighborY="1236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>
          <a:noFill/>
        </a:ln>
      </dgm:spPr>
    </dgm:pt>
    <dgm:pt modelId="{2FDAA7AC-DEBA-4700-99D0-1A78999FE69D}" type="pres">
      <dgm:prSet presAssocID="{70AAB01F-1F3F-4239-BB51-C836817025E3}" presName="spaceRect" presStyleCnt="0"/>
      <dgm:spPr/>
    </dgm:pt>
    <dgm:pt modelId="{133F658D-38C7-4601-A0BE-1335EF200B1E}" type="pres">
      <dgm:prSet presAssocID="{70AAB01F-1F3F-4239-BB51-C836817025E3}" presName="textRect" presStyleLbl="revTx" presStyleIdx="1" presStyleCnt="3">
        <dgm:presLayoutVars>
          <dgm:chMax val="1"/>
          <dgm:chPref val="1"/>
        </dgm:presLayoutVars>
      </dgm:prSet>
      <dgm:spPr/>
    </dgm:pt>
    <dgm:pt modelId="{3B666681-D9D5-4A8A-82D9-4D0309BC6E10}" type="pres">
      <dgm:prSet presAssocID="{A802530E-2788-4B70-8347-C4EFA40311A1}" presName="sibTrans" presStyleCnt="0"/>
      <dgm:spPr/>
    </dgm:pt>
    <dgm:pt modelId="{7AAC013A-0AE3-49C5-B253-1E832DDAC4F3}" type="pres">
      <dgm:prSet presAssocID="{F1D9C275-1E4B-40E9-8FA5-90D49683C289}" presName="compNode" presStyleCnt="0"/>
      <dgm:spPr/>
    </dgm:pt>
    <dgm:pt modelId="{E11D9D2D-E1EF-4F8B-B956-5276604AD9D9}" type="pres">
      <dgm:prSet presAssocID="{F1D9C275-1E4B-40E9-8FA5-90D49683C289}" presName="iconBgRect" presStyleLbl="bgShp" presStyleIdx="2" presStyleCnt="3" custLinFactNeighborX="2716" custLinFactNeighborY="-1487"/>
      <dgm:spPr>
        <a:solidFill>
          <a:schemeClr val="tx2">
            <a:lumMod val="25000"/>
            <a:lumOff val="75000"/>
          </a:schemeClr>
        </a:solidFill>
      </dgm:spPr>
    </dgm:pt>
    <dgm:pt modelId="{58FA072A-DFB4-4C7E-8DD2-3ED530ACB350}" type="pres">
      <dgm:prSet presAssocID="{F1D9C275-1E4B-40E9-8FA5-90D49683C289}" presName="iconRect" presStyleLbl="node1" presStyleIdx="2" presStyleCnt="3" custScaleX="120755" custScaleY="103504" custLinFactNeighborX="5545" custLinFactNeighborY="-5092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6000" r="-26000"/>
          </a:stretch>
        </a:blipFill>
        <a:ln>
          <a:noFill/>
        </a:ln>
      </dgm:spPr>
    </dgm:pt>
    <dgm:pt modelId="{289381BC-2E4A-4E2E-8DCB-A1DCC09AF3C1}" type="pres">
      <dgm:prSet presAssocID="{F1D9C275-1E4B-40E9-8FA5-90D49683C289}" presName="spaceRect" presStyleCnt="0"/>
      <dgm:spPr/>
    </dgm:pt>
    <dgm:pt modelId="{4E92316D-3FE7-4566-B3F0-19B75154652B}" type="pres">
      <dgm:prSet presAssocID="{F1D9C275-1E4B-40E9-8FA5-90D49683C289}" presName="textRect" presStyleLbl="revTx" presStyleIdx="2" presStyleCnt="3">
        <dgm:presLayoutVars>
          <dgm:chMax val="1"/>
          <dgm:chPref val="1"/>
        </dgm:presLayoutVars>
      </dgm:prSet>
      <dgm:spPr/>
    </dgm:pt>
  </dgm:ptLst>
  <dgm:cxnLst>
    <dgm:cxn modelId="{0606E161-41D1-4B3A-BC3B-E677E85EFE9B}" srcId="{AB3EF664-A10F-4F61-87E9-B962E1317A37}" destId="{F1D9C275-1E4B-40E9-8FA5-90D49683C289}" srcOrd="2" destOrd="0" parTransId="{9C0328EF-E0B3-46D2-8D34-FBD9C9204230}" sibTransId="{7142EB2F-6B3E-439E-A19D-B6E391266445}"/>
    <dgm:cxn modelId="{E3CAD069-CACA-43E3-87EF-3695A8153986}" type="presOf" srcId="{31A69854-7566-4412-A31D-81234E9B8C14}" destId="{9AA7F644-CA99-4D1C-AC22-9A40CAD36E45}" srcOrd="0" destOrd="0" presId="urn:microsoft.com/office/officeart/2018/5/layout/IconCircleLabelList#1"/>
    <dgm:cxn modelId="{C0AE264B-7831-4384-AC47-897D1FA71958}" type="presOf" srcId="{70AAB01F-1F3F-4239-BB51-C836817025E3}" destId="{133F658D-38C7-4601-A0BE-1335EF200B1E}" srcOrd="0" destOrd="0" presId="urn:microsoft.com/office/officeart/2018/5/layout/IconCircleLabelList#1"/>
    <dgm:cxn modelId="{19BAD8AA-085B-4C78-A9C3-EBCFE611E9B4}" type="presOf" srcId="{F1D9C275-1E4B-40E9-8FA5-90D49683C289}" destId="{4E92316D-3FE7-4566-B3F0-19B75154652B}" srcOrd="0" destOrd="0" presId="urn:microsoft.com/office/officeart/2018/5/layout/IconCircleLabelList#1"/>
    <dgm:cxn modelId="{4E249BB5-DA6B-43ED-A8A0-A4158A6FAEE7}" type="presOf" srcId="{AB3EF664-A10F-4F61-87E9-B962E1317A37}" destId="{0E8A49A6-8E18-4048-9FDA-610A17570EF0}" srcOrd="0" destOrd="0" presId="urn:microsoft.com/office/officeart/2018/5/layout/IconCircleLabelList#1"/>
    <dgm:cxn modelId="{66ABC6C2-DAA8-4BBD-A2CD-5B08247D6969}" srcId="{AB3EF664-A10F-4F61-87E9-B962E1317A37}" destId="{70AAB01F-1F3F-4239-BB51-C836817025E3}" srcOrd="1" destOrd="0" parTransId="{60249235-DC8C-405B-AC8E-676465FD62B7}" sibTransId="{A802530E-2788-4B70-8347-C4EFA40311A1}"/>
    <dgm:cxn modelId="{C153F2C4-27C7-4F67-B59D-21B1E7599AB9}" srcId="{AB3EF664-A10F-4F61-87E9-B962E1317A37}" destId="{31A69854-7566-4412-A31D-81234E9B8C14}" srcOrd="0" destOrd="0" parTransId="{5565F0F1-4759-426E-A93D-D788C6B1834D}" sibTransId="{A9FB573E-5C39-4200-AE81-986E8B2899A1}"/>
    <dgm:cxn modelId="{B0A6F699-D400-48B7-8C7A-C3EEE22297DD}" type="presParOf" srcId="{0E8A49A6-8E18-4048-9FDA-610A17570EF0}" destId="{9A68BBF8-A3E0-4E2F-B71B-1F2155ACCE48}" srcOrd="0" destOrd="0" presId="urn:microsoft.com/office/officeart/2018/5/layout/IconCircleLabelList#1"/>
    <dgm:cxn modelId="{FEB4316E-5DD1-4796-9118-9A696E25DDEA}" type="presParOf" srcId="{9A68BBF8-A3E0-4E2F-B71B-1F2155ACCE48}" destId="{A862FEE0-5D38-41BA-91F4-C685EFB92C04}" srcOrd="0" destOrd="0" presId="urn:microsoft.com/office/officeart/2018/5/layout/IconCircleLabelList#1"/>
    <dgm:cxn modelId="{CA576736-5C63-4A97-A2DD-504DCE88DE80}" type="presParOf" srcId="{9A68BBF8-A3E0-4E2F-B71B-1F2155ACCE48}" destId="{A947F9BA-7C22-4CAB-8F98-954D0477F8C4}" srcOrd="1" destOrd="0" presId="urn:microsoft.com/office/officeart/2018/5/layout/IconCircleLabelList#1"/>
    <dgm:cxn modelId="{FB041FBD-A465-4993-A8CE-6E802FC21254}" type="presParOf" srcId="{9A68BBF8-A3E0-4E2F-B71B-1F2155ACCE48}" destId="{CC61AF29-DEA5-4C49-B50F-0E6750CA25F3}" srcOrd="2" destOrd="0" presId="urn:microsoft.com/office/officeart/2018/5/layout/IconCircleLabelList#1"/>
    <dgm:cxn modelId="{CACF3CE0-0F22-408C-BF0F-F426B5770E13}" type="presParOf" srcId="{9A68BBF8-A3E0-4E2F-B71B-1F2155ACCE48}" destId="{9AA7F644-CA99-4D1C-AC22-9A40CAD36E45}" srcOrd="3" destOrd="0" presId="urn:microsoft.com/office/officeart/2018/5/layout/IconCircleLabelList#1"/>
    <dgm:cxn modelId="{6EC493D3-B41B-4873-BEE5-A6C2847DED98}" type="presParOf" srcId="{0E8A49A6-8E18-4048-9FDA-610A17570EF0}" destId="{46E12DA7-C0E4-4117-A680-978BC683C788}" srcOrd="1" destOrd="0" presId="urn:microsoft.com/office/officeart/2018/5/layout/IconCircleLabelList#1"/>
    <dgm:cxn modelId="{2BD1452C-8008-416A-AF8A-3F33A03CB5F0}" type="presParOf" srcId="{0E8A49A6-8E18-4048-9FDA-610A17570EF0}" destId="{AEFD6563-DF4B-4A42-B09B-B4C19EE3FCBB}" srcOrd="2" destOrd="0" presId="urn:microsoft.com/office/officeart/2018/5/layout/IconCircleLabelList#1"/>
    <dgm:cxn modelId="{C00618F3-5CE5-4E61-BC2E-0DBDF35445D3}" type="presParOf" srcId="{AEFD6563-DF4B-4A42-B09B-B4C19EE3FCBB}" destId="{395704C5-F946-462D-A69C-EF9F9736D2B0}" srcOrd="0" destOrd="0" presId="urn:microsoft.com/office/officeart/2018/5/layout/IconCircleLabelList#1"/>
    <dgm:cxn modelId="{2866C1D9-1CDD-4186-AD88-EFD450F36E1C}" type="presParOf" srcId="{AEFD6563-DF4B-4A42-B09B-B4C19EE3FCBB}" destId="{965E6294-B2C0-4C55-828B-784B823F312F}" srcOrd="1" destOrd="0" presId="urn:microsoft.com/office/officeart/2018/5/layout/IconCircleLabelList#1"/>
    <dgm:cxn modelId="{CFDB2128-8828-4619-95F1-ADAC12395191}" type="presParOf" srcId="{AEFD6563-DF4B-4A42-B09B-B4C19EE3FCBB}" destId="{2FDAA7AC-DEBA-4700-99D0-1A78999FE69D}" srcOrd="2" destOrd="0" presId="urn:microsoft.com/office/officeart/2018/5/layout/IconCircleLabelList#1"/>
    <dgm:cxn modelId="{7035CD62-4FC4-4035-B99F-BAD5D736F115}" type="presParOf" srcId="{AEFD6563-DF4B-4A42-B09B-B4C19EE3FCBB}" destId="{133F658D-38C7-4601-A0BE-1335EF200B1E}" srcOrd="3" destOrd="0" presId="urn:microsoft.com/office/officeart/2018/5/layout/IconCircleLabelList#1"/>
    <dgm:cxn modelId="{559F9AFD-7B36-4EFE-B99A-F36D04D52469}" type="presParOf" srcId="{0E8A49A6-8E18-4048-9FDA-610A17570EF0}" destId="{3B666681-D9D5-4A8A-82D9-4D0309BC6E10}" srcOrd="3" destOrd="0" presId="urn:microsoft.com/office/officeart/2018/5/layout/IconCircleLabelList#1"/>
    <dgm:cxn modelId="{768E7001-0ED8-48BF-92F4-01F2B6779139}" type="presParOf" srcId="{0E8A49A6-8E18-4048-9FDA-610A17570EF0}" destId="{7AAC013A-0AE3-49C5-B253-1E832DDAC4F3}" srcOrd="4" destOrd="0" presId="urn:microsoft.com/office/officeart/2018/5/layout/IconCircleLabelList#1"/>
    <dgm:cxn modelId="{383A1B03-FB33-49FC-8C58-2BE863FA7C05}" type="presParOf" srcId="{7AAC013A-0AE3-49C5-B253-1E832DDAC4F3}" destId="{E11D9D2D-E1EF-4F8B-B956-5276604AD9D9}" srcOrd="0" destOrd="0" presId="urn:microsoft.com/office/officeart/2018/5/layout/IconCircleLabelList#1"/>
    <dgm:cxn modelId="{6FE9BF58-7A75-4B3B-938C-56B37D2827BC}" type="presParOf" srcId="{7AAC013A-0AE3-49C5-B253-1E832DDAC4F3}" destId="{58FA072A-DFB4-4C7E-8DD2-3ED530ACB350}" srcOrd="1" destOrd="0" presId="urn:microsoft.com/office/officeart/2018/5/layout/IconCircleLabelList#1"/>
    <dgm:cxn modelId="{0A289092-85B0-4037-A5BF-54E4FC6E6984}" type="presParOf" srcId="{7AAC013A-0AE3-49C5-B253-1E832DDAC4F3}" destId="{289381BC-2E4A-4E2E-8DCB-A1DCC09AF3C1}" srcOrd="2" destOrd="0" presId="urn:microsoft.com/office/officeart/2018/5/layout/IconCircleLabelList#1"/>
    <dgm:cxn modelId="{A1F0FFDC-21AB-4D75-B64E-1FFEF7914036}" type="presParOf" srcId="{7AAC013A-0AE3-49C5-B253-1E832DDAC4F3}" destId="{4E92316D-3FE7-4566-B3F0-19B75154652B}" srcOrd="3" destOrd="0" presId="urn:microsoft.com/office/officeart/2018/5/layout/IconCircleLabelList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FB0B0BC-7F23-4346-8B4D-8F23C87BD7CB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B87DAE9D-BBE1-44DF-BFBA-25F25EEC9DDB}">
      <dgm:prSet phldrT="[Testo]"/>
      <dgm:spPr>
        <a:solidFill>
          <a:srgbClr val="00CC99"/>
        </a:solidFill>
      </dgm:spPr>
      <dgm:t>
        <a:bodyPr/>
        <a:lstStyle/>
        <a:p>
          <a:r>
            <a:rPr lang="it-IT" dirty="0"/>
            <a:t>Pubblica amministrazione</a:t>
          </a:r>
        </a:p>
      </dgm:t>
    </dgm:pt>
    <dgm:pt modelId="{8E0F2E82-E812-4783-B4D4-FAA4CC1F868B}" type="parTrans" cxnId="{1C68874E-3560-48B9-8E82-B8D2A4AF66A3}">
      <dgm:prSet/>
      <dgm:spPr/>
      <dgm:t>
        <a:bodyPr/>
        <a:lstStyle/>
        <a:p>
          <a:endParaRPr lang="it-IT"/>
        </a:p>
      </dgm:t>
    </dgm:pt>
    <dgm:pt modelId="{A6DA81D1-6097-45F6-88E4-36F8DA459064}" type="sibTrans" cxnId="{1C68874E-3560-48B9-8E82-B8D2A4AF66A3}">
      <dgm:prSet/>
      <dgm:spPr/>
      <dgm:t>
        <a:bodyPr/>
        <a:lstStyle/>
        <a:p>
          <a:endParaRPr lang="it-IT"/>
        </a:p>
      </dgm:t>
    </dgm:pt>
    <dgm:pt modelId="{616397EE-2D3E-4A3F-A24F-1B136F567C69}">
      <dgm:prSet phldrT="[Testo]"/>
      <dgm:spPr/>
      <dgm:t>
        <a:bodyPr/>
        <a:lstStyle/>
        <a:p>
          <a:r>
            <a:rPr lang="it-IT" dirty="0"/>
            <a:t>Regione Liguria</a:t>
          </a:r>
        </a:p>
      </dgm:t>
    </dgm:pt>
    <dgm:pt modelId="{9123CECF-4467-49D7-BBE0-76B4478F1AE9}" type="parTrans" cxnId="{79321555-BBF9-4FF4-89DE-A414DAAF3B3F}">
      <dgm:prSet/>
      <dgm:spPr/>
      <dgm:t>
        <a:bodyPr/>
        <a:lstStyle/>
        <a:p>
          <a:endParaRPr lang="it-IT"/>
        </a:p>
      </dgm:t>
    </dgm:pt>
    <dgm:pt modelId="{5C741B58-599B-4B13-87AC-4B3470560331}" type="sibTrans" cxnId="{79321555-BBF9-4FF4-89DE-A414DAAF3B3F}">
      <dgm:prSet/>
      <dgm:spPr/>
      <dgm:t>
        <a:bodyPr/>
        <a:lstStyle/>
        <a:p>
          <a:endParaRPr lang="it-IT"/>
        </a:p>
      </dgm:t>
    </dgm:pt>
    <dgm:pt modelId="{1AB330AB-BFD5-4098-9179-3EFD3CEEBE2D}">
      <dgm:prSet phldrT="[Testo]"/>
      <dgm:spPr/>
      <dgm:t>
        <a:bodyPr/>
        <a:lstStyle/>
        <a:p>
          <a:r>
            <a:rPr lang="it-IT" dirty="0"/>
            <a:t>Forze dell’Ordine</a:t>
          </a:r>
        </a:p>
      </dgm:t>
    </dgm:pt>
    <dgm:pt modelId="{C3E013D7-2C33-4427-ACF9-2A253025AAA8}" type="parTrans" cxnId="{598E64B9-F83F-4F46-AA32-09FED6D7ECDE}">
      <dgm:prSet/>
      <dgm:spPr/>
      <dgm:t>
        <a:bodyPr/>
        <a:lstStyle/>
        <a:p>
          <a:endParaRPr lang="it-IT"/>
        </a:p>
      </dgm:t>
    </dgm:pt>
    <dgm:pt modelId="{A9C92D11-7D2A-4A89-8A2C-7C21DAAF4E9D}" type="sibTrans" cxnId="{598E64B9-F83F-4F46-AA32-09FED6D7ECDE}">
      <dgm:prSet/>
      <dgm:spPr/>
      <dgm:t>
        <a:bodyPr/>
        <a:lstStyle/>
        <a:p>
          <a:endParaRPr lang="it-IT"/>
        </a:p>
      </dgm:t>
    </dgm:pt>
    <dgm:pt modelId="{490ABD5D-27E4-4731-813F-DED58B54AF98}">
      <dgm:prSet phldrT="[Testo]"/>
      <dgm:spPr>
        <a:solidFill>
          <a:srgbClr val="F0B2C4"/>
        </a:solidFill>
      </dgm:spPr>
      <dgm:t>
        <a:bodyPr/>
        <a:lstStyle/>
        <a:p>
          <a:r>
            <a:rPr lang="it-IT" dirty="0"/>
            <a:t>Terzo Settore</a:t>
          </a:r>
        </a:p>
      </dgm:t>
    </dgm:pt>
    <dgm:pt modelId="{D044F24E-F6A1-4DE8-8C78-1297D1A036C2}" type="parTrans" cxnId="{02A049AD-C141-4729-BBAB-83C450810650}">
      <dgm:prSet/>
      <dgm:spPr/>
      <dgm:t>
        <a:bodyPr/>
        <a:lstStyle/>
        <a:p>
          <a:endParaRPr lang="it-IT"/>
        </a:p>
      </dgm:t>
    </dgm:pt>
    <dgm:pt modelId="{85281BF5-CE7B-4014-8134-ACB55B38BEAD}" type="sibTrans" cxnId="{02A049AD-C141-4729-BBAB-83C450810650}">
      <dgm:prSet/>
      <dgm:spPr/>
      <dgm:t>
        <a:bodyPr/>
        <a:lstStyle/>
        <a:p>
          <a:endParaRPr lang="it-IT"/>
        </a:p>
      </dgm:t>
    </dgm:pt>
    <dgm:pt modelId="{795E956B-54C6-463F-99D1-601590998754}">
      <dgm:prSet phldrT="[Testo]"/>
      <dgm:spPr/>
      <dgm:t>
        <a:bodyPr/>
        <a:lstStyle/>
        <a:p>
          <a:r>
            <a:rPr lang="it-IT" dirty="0"/>
            <a:t>Cooperative</a:t>
          </a:r>
        </a:p>
      </dgm:t>
    </dgm:pt>
    <dgm:pt modelId="{B122AFB1-7490-4A6F-92A8-6B7EAF98A9C1}" type="parTrans" cxnId="{D465648A-8EDC-448C-B312-8965AEFA43A2}">
      <dgm:prSet/>
      <dgm:spPr/>
      <dgm:t>
        <a:bodyPr/>
        <a:lstStyle/>
        <a:p>
          <a:endParaRPr lang="it-IT"/>
        </a:p>
      </dgm:t>
    </dgm:pt>
    <dgm:pt modelId="{FD1818F5-048C-40CA-975B-D351FA2AB219}" type="sibTrans" cxnId="{D465648A-8EDC-448C-B312-8965AEFA43A2}">
      <dgm:prSet/>
      <dgm:spPr/>
      <dgm:t>
        <a:bodyPr/>
        <a:lstStyle/>
        <a:p>
          <a:endParaRPr lang="it-IT"/>
        </a:p>
      </dgm:t>
    </dgm:pt>
    <dgm:pt modelId="{B454ADCB-22B5-4831-A5CF-CE5278FB6769}">
      <dgm:prSet phldrT="[Testo]"/>
      <dgm:spPr/>
      <dgm:t>
        <a:bodyPr/>
        <a:lstStyle/>
        <a:p>
          <a:r>
            <a:rPr lang="it-IT" dirty="0"/>
            <a:t>Imprese Sociali</a:t>
          </a:r>
        </a:p>
      </dgm:t>
    </dgm:pt>
    <dgm:pt modelId="{5598B196-CF43-4C93-8CA2-A511925DA1BF}" type="parTrans" cxnId="{BEF189D6-D9C0-4FFF-BD7A-2874C872D638}">
      <dgm:prSet/>
      <dgm:spPr/>
      <dgm:t>
        <a:bodyPr/>
        <a:lstStyle/>
        <a:p>
          <a:endParaRPr lang="it-IT"/>
        </a:p>
      </dgm:t>
    </dgm:pt>
    <dgm:pt modelId="{5DD6273A-D7B1-43EF-B673-825B01A79FF1}" type="sibTrans" cxnId="{BEF189D6-D9C0-4FFF-BD7A-2874C872D638}">
      <dgm:prSet/>
      <dgm:spPr/>
      <dgm:t>
        <a:bodyPr/>
        <a:lstStyle/>
        <a:p>
          <a:endParaRPr lang="it-IT"/>
        </a:p>
      </dgm:t>
    </dgm:pt>
    <dgm:pt modelId="{BC2E24EF-87CD-4A4F-A81A-FA73931B4024}">
      <dgm:prSet phldrT="[Testo]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it-IT" dirty="0"/>
            <a:t>Privati</a:t>
          </a:r>
        </a:p>
      </dgm:t>
    </dgm:pt>
    <dgm:pt modelId="{69FC8537-7D39-4E42-9BF9-DD1838374759}" type="parTrans" cxnId="{09A0C6DF-F13C-4194-B07A-99DD08135AE3}">
      <dgm:prSet/>
      <dgm:spPr/>
      <dgm:t>
        <a:bodyPr/>
        <a:lstStyle/>
        <a:p>
          <a:endParaRPr lang="it-IT"/>
        </a:p>
      </dgm:t>
    </dgm:pt>
    <dgm:pt modelId="{78BA2FDD-883F-4C92-AE4B-84E0105DA04B}" type="sibTrans" cxnId="{09A0C6DF-F13C-4194-B07A-99DD08135AE3}">
      <dgm:prSet/>
      <dgm:spPr/>
      <dgm:t>
        <a:bodyPr/>
        <a:lstStyle/>
        <a:p>
          <a:endParaRPr lang="it-IT"/>
        </a:p>
      </dgm:t>
    </dgm:pt>
    <dgm:pt modelId="{2F8D1E7F-DAFA-4056-AE0A-75FF1475B767}">
      <dgm:prSet phldrT="[Testo]"/>
      <dgm:spPr/>
      <dgm:t>
        <a:bodyPr/>
        <a:lstStyle/>
        <a:p>
          <a:r>
            <a:rPr lang="it-IT" dirty="0"/>
            <a:t>Imprese profit</a:t>
          </a:r>
        </a:p>
      </dgm:t>
    </dgm:pt>
    <dgm:pt modelId="{40D00E8D-F868-47DA-B972-4842FD910056}" type="parTrans" cxnId="{B75F1EFF-C9C2-4AD2-A192-FF391C240680}">
      <dgm:prSet/>
      <dgm:spPr/>
      <dgm:t>
        <a:bodyPr/>
        <a:lstStyle/>
        <a:p>
          <a:endParaRPr lang="it-IT"/>
        </a:p>
      </dgm:t>
    </dgm:pt>
    <dgm:pt modelId="{D9C78CD0-A95D-4131-B76F-7B56E918CBD8}" type="sibTrans" cxnId="{B75F1EFF-C9C2-4AD2-A192-FF391C240680}">
      <dgm:prSet/>
      <dgm:spPr/>
      <dgm:t>
        <a:bodyPr/>
        <a:lstStyle/>
        <a:p>
          <a:endParaRPr lang="it-IT"/>
        </a:p>
      </dgm:t>
    </dgm:pt>
    <dgm:pt modelId="{A83EDC96-C113-4106-A52E-5F11B5FDF6B4}">
      <dgm:prSet phldrT="[Testo]"/>
      <dgm:spPr/>
      <dgm:t>
        <a:bodyPr/>
        <a:lstStyle/>
        <a:p>
          <a:r>
            <a:rPr lang="it-IT" dirty="0"/>
            <a:t>Startup</a:t>
          </a:r>
        </a:p>
      </dgm:t>
    </dgm:pt>
    <dgm:pt modelId="{FFA1C430-8A7A-4590-BE9F-84D09E5B2E81}" type="parTrans" cxnId="{79A0ECB3-D835-4077-89E3-0DDBD279E78A}">
      <dgm:prSet/>
      <dgm:spPr/>
      <dgm:t>
        <a:bodyPr/>
        <a:lstStyle/>
        <a:p>
          <a:endParaRPr lang="it-IT"/>
        </a:p>
      </dgm:t>
    </dgm:pt>
    <dgm:pt modelId="{16B1CCFF-BE04-49C1-90E7-DDAE743769E9}" type="sibTrans" cxnId="{79A0ECB3-D835-4077-89E3-0DDBD279E78A}">
      <dgm:prSet/>
      <dgm:spPr/>
      <dgm:t>
        <a:bodyPr/>
        <a:lstStyle/>
        <a:p>
          <a:endParaRPr lang="it-IT"/>
        </a:p>
      </dgm:t>
    </dgm:pt>
    <dgm:pt modelId="{40ABDDD7-A8AB-4CDE-B71F-C91DF9FCE382}">
      <dgm:prSet phldrT="[Testo]"/>
      <dgm:spPr/>
      <dgm:t>
        <a:bodyPr/>
        <a:lstStyle/>
        <a:p>
          <a:r>
            <a:rPr lang="it-IT" dirty="0"/>
            <a:t>Comuni della provincia di Imperia </a:t>
          </a:r>
        </a:p>
      </dgm:t>
    </dgm:pt>
    <dgm:pt modelId="{908853F3-83B9-4326-B51A-4D794A955161}" type="parTrans" cxnId="{CA8C01FF-CDE0-4666-80D1-EB842B5495D5}">
      <dgm:prSet/>
      <dgm:spPr/>
      <dgm:t>
        <a:bodyPr/>
        <a:lstStyle/>
        <a:p>
          <a:endParaRPr lang="it-IT"/>
        </a:p>
      </dgm:t>
    </dgm:pt>
    <dgm:pt modelId="{69146CCC-98D4-4E14-92B9-BD54F4A437F5}" type="sibTrans" cxnId="{CA8C01FF-CDE0-4666-80D1-EB842B5495D5}">
      <dgm:prSet/>
      <dgm:spPr/>
      <dgm:t>
        <a:bodyPr/>
        <a:lstStyle/>
        <a:p>
          <a:endParaRPr lang="it-IT"/>
        </a:p>
      </dgm:t>
    </dgm:pt>
    <dgm:pt modelId="{763D8935-327A-4BE2-B5CC-7D0CE8B69570}">
      <dgm:prSet phldrT="[Testo]"/>
      <dgm:spPr/>
      <dgm:t>
        <a:bodyPr/>
        <a:lstStyle/>
        <a:p>
          <a:r>
            <a:rPr lang="it-IT" dirty="0"/>
            <a:t>Azienda Sanitaria Locale</a:t>
          </a:r>
        </a:p>
      </dgm:t>
    </dgm:pt>
    <dgm:pt modelId="{D2ACA170-9BEE-436A-9BDB-8F72DC32B205}" type="parTrans" cxnId="{509490C2-FDD2-46DD-9076-A2B052778528}">
      <dgm:prSet/>
      <dgm:spPr/>
      <dgm:t>
        <a:bodyPr/>
        <a:lstStyle/>
        <a:p>
          <a:endParaRPr lang="it-IT"/>
        </a:p>
      </dgm:t>
    </dgm:pt>
    <dgm:pt modelId="{2B400D34-D90C-4580-8E45-EDB81942A320}" type="sibTrans" cxnId="{509490C2-FDD2-46DD-9076-A2B052778528}">
      <dgm:prSet/>
      <dgm:spPr/>
      <dgm:t>
        <a:bodyPr/>
        <a:lstStyle/>
        <a:p>
          <a:endParaRPr lang="it-IT"/>
        </a:p>
      </dgm:t>
    </dgm:pt>
    <dgm:pt modelId="{8D79CBC6-F6C0-4B67-9A7E-9B34C7B751D2}">
      <dgm:prSet phldrT="[Testo]"/>
      <dgm:spPr/>
      <dgm:t>
        <a:bodyPr/>
        <a:lstStyle/>
        <a:p>
          <a:r>
            <a:rPr lang="it-IT" dirty="0"/>
            <a:t>Alfa Liguria</a:t>
          </a:r>
        </a:p>
      </dgm:t>
    </dgm:pt>
    <dgm:pt modelId="{49471F3E-1C4A-4227-89D1-5AE6026BDA22}" type="parTrans" cxnId="{79BC2073-495E-42A1-B342-F30E1DEC8CF3}">
      <dgm:prSet/>
      <dgm:spPr/>
      <dgm:t>
        <a:bodyPr/>
        <a:lstStyle/>
        <a:p>
          <a:endParaRPr lang="it-IT"/>
        </a:p>
      </dgm:t>
    </dgm:pt>
    <dgm:pt modelId="{D34EFDBF-34F6-4D77-AC85-5581FED88963}" type="sibTrans" cxnId="{79BC2073-495E-42A1-B342-F30E1DEC8CF3}">
      <dgm:prSet/>
      <dgm:spPr/>
      <dgm:t>
        <a:bodyPr/>
        <a:lstStyle/>
        <a:p>
          <a:endParaRPr lang="it-IT"/>
        </a:p>
      </dgm:t>
    </dgm:pt>
    <dgm:pt modelId="{AC797B79-82DF-4BBA-A9D6-28D5D39B4E14}">
      <dgm:prSet phldrT="[Testo]"/>
      <dgm:spPr/>
      <dgm:t>
        <a:bodyPr/>
        <a:lstStyle/>
        <a:p>
          <a:r>
            <a:rPr lang="it-IT" dirty="0"/>
            <a:t>Fondazioni</a:t>
          </a:r>
        </a:p>
      </dgm:t>
    </dgm:pt>
    <dgm:pt modelId="{FB50AD3D-992C-43AD-9D01-2006F63ADE5C}" type="parTrans" cxnId="{130E7975-D99D-402C-A1B7-4EAA79F30296}">
      <dgm:prSet/>
      <dgm:spPr/>
      <dgm:t>
        <a:bodyPr/>
        <a:lstStyle/>
        <a:p>
          <a:endParaRPr lang="it-IT"/>
        </a:p>
      </dgm:t>
    </dgm:pt>
    <dgm:pt modelId="{1692AF44-2AC4-43A2-98BA-6942D741E016}" type="sibTrans" cxnId="{130E7975-D99D-402C-A1B7-4EAA79F30296}">
      <dgm:prSet/>
      <dgm:spPr/>
      <dgm:t>
        <a:bodyPr/>
        <a:lstStyle/>
        <a:p>
          <a:endParaRPr lang="it-IT"/>
        </a:p>
      </dgm:t>
    </dgm:pt>
    <dgm:pt modelId="{FE6103BE-2D44-4E6B-9966-B521256EFBC4}">
      <dgm:prSet phldrT="[Testo]"/>
      <dgm:spPr/>
      <dgm:t>
        <a:bodyPr/>
        <a:lstStyle/>
        <a:p>
          <a:r>
            <a:rPr lang="it-IT" dirty="0"/>
            <a:t>Associazioni</a:t>
          </a:r>
        </a:p>
      </dgm:t>
    </dgm:pt>
    <dgm:pt modelId="{4C9DDEF9-D08D-4A74-A923-7360C806CC74}" type="parTrans" cxnId="{E7AF5500-25C4-48C8-A673-77E35FA69E2A}">
      <dgm:prSet/>
      <dgm:spPr/>
      <dgm:t>
        <a:bodyPr/>
        <a:lstStyle/>
        <a:p>
          <a:endParaRPr lang="it-IT"/>
        </a:p>
      </dgm:t>
    </dgm:pt>
    <dgm:pt modelId="{85E87114-A631-4B76-8767-0E5819318894}" type="sibTrans" cxnId="{E7AF5500-25C4-48C8-A673-77E35FA69E2A}">
      <dgm:prSet/>
      <dgm:spPr/>
      <dgm:t>
        <a:bodyPr/>
        <a:lstStyle/>
        <a:p>
          <a:endParaRPr lang="it-IT"/>
        </a:p>
      </dgm:t>
    </dgm:pt>
    <dgm:pt modelId="{8EAFFCF8-4F86-40C3-85E2-011AE0EF82FE}">
      <dgm:prSet phldrT="[Testo]"/>
      <dgm:spPr/>
      <dgm:t>
        <a:bodyPr/>
        <a:lstStyle/>
        <a:p>
          <a:r>
            <a:rPr lang="it-IT" dirty="0"/>
            <a:t>Onlus</a:t>
          </a:r>
        </a:p>
      </dgm:t>
    </dgm:pt>
    <dgm:pt modelId="{224EDEF2-B840-4D22-AE62-625F246279FC}" type="parTrans" cxnId="{E0FD4F8F-E976-4F61-820A-581199135BEA}">
      <dgm:prSet/>
      <dgm:spPr/>
      <dgm:t>
        <a:bodyPr/>
        <a:lstStyle/>
        <a:p>
          <a:endParaRPr lang="it-IT"/>
        </a:p>
      </dgm:t>
    </dgm:pt>
    <dgm:pt modelId="{8C909386-9178-4372-A501-CE73024979DC}" type="sibTrans" cxnId="{E0FD4F8F-E976-4F61-820A-581199135BEA}">
      <dgm:prSet/>
      <dgm:spPr/>
      <dgm:t>
        <a:bodyPr/>
        <a:lstStyle/>
        <a:p>
          <a:endParaRPr lang="it-IT"/>
        </a:p>
      </dgm:t>
    </dgm:pt>
    <dgm:pt modelId="{95384C27-C734-4CB1-85EB-3087C763D301}">
      <dgm:prSet phldrT="[Testo]"/>
      <dgm:spPr/>
      <dgm:t>
        <a:bodyPr/>
        <a:lstStyle/>
        <a:p>
          <a:r>
            <a:rPr lang="it-IT" dirty="0"/>
            <a:t>Cittadini</a:t>
          </a:r>
        </a:p>
      </dgm:t>
    </dgm:pt>
    <dgm:pt modelId="{9A425CCE-8326-4FE0-8DCB-E378EC7B93CB}" type="parTrans" cxnId="{6655E8D9-6615-4341-9A90-727064C465B7}">
      <dgm:prSet/>
      <dgm:spPr/>
      <dgm:t>
        <a:bodyPr/>
        <a:lstStyle/>
        <a:p>
          <a:endParaRPr lang="it-IT"/>
        </a:p>
      </dgm:t>
    </dgm:pt>
    <dgm:pt modelId="{3263D972-2E9E-4C16-A007-69442F9A6272}" type="sibTrans" cxnId="{6655E8D9-6615-4341-9A90-727064C465B7}">
      <dgm:prSet/>
      <dgm:spPr/>
      <dgm:t>
        <a:bodyPr/>
        <a:lstStyle/>
        <a:p>
          <a:endParaRPr lang="it-IT"/>
        </a:p>
      </dgm:t>
    </dgm:pt>
    <dgm:pt modelId="{33A9D1B8-571B-43DC-B95A-24F65072BAEE}">
      <dgm:prSet phldrT="[Testo]"/>
      <dgm:spPr/>
      <dgm:t>
        <a:bodyPr/>
        <a:lstStyle/>
        <a:p>
          <a:r>
            <a:rPr lang="it-IT" dirty="0"/>
            <a:t>Consigli dell’Ordine</a:t>
          </a:r>
        </a:p>
      </dgm:t>
    </dgm:pt>
    <dgm:pt modelId="{D7141972-D0CA-4762-9D82-E75B14752260}" type="parTrans" cxnId="{EA11B36D-3BD0-4951-BE73-689DCF7D89DB}">
      <dgm:prSet/>
      <dgm:spPr/>
      <dgm:t>
        <a:bodyPr/>
        <a:lstStyle/>
        <a:p>
          <a:endParaRPr lang="it-IT"/>
        </a:p>
      </dgm:t>
    </dgm:pt>
    <dgm:pt modelId="{3A8C52F8-C120-44CA-955A-DF11273415E2}" type="sibTrans" cxnId="{EA11B36D-3BD0-4951-BE73-689DCF7D89DB}">
      <dgm:prSet/>
      <dgm:spPr/>
      <dgm:t>
        <a:bodyPr/>
        <a:lstStyle/>
        <a:p>
          <a:endParaRPr lang="it-IT"/>
        </a:p>
      </dgm:t>
    </dgm:pt>
    <dgm:pt modelId="{BED2B9E9-4216-4F5C-BB85-12D6C1510DCC}" type="pres">
      <dgm:prSet presAssocID="{1FB0B0BC-7F23-4346-8B4D-8F23C87BD7CB}" presName="theList" presStyleCnt="0">
        <dgm:presLayoutVars>
          <dgm:dir/>
          <dgm:animLvl val="lvl"/>
          <dgm:resizeHandles val="exact"/>
        </dgm:presLayoutVars>
      </dgm:prSet>
      <dgm:spPr/>
    </dgm:pt>
    <dgm:pt modelId="{9E854B44-5E34-4940-8E4F-EADDFBF9194C}" type="pres">
      <dgm:prSet presAssocID="{B87DAE9D-BBE1-44DF-BFBA-25F25EEC9DDB}" presName="compNode" presStyleCnt="0"/>
      <dgm:spPr/>
    </dgm:pt>
    <dgm:pt modelId="{8DD46F04-029B-467E-B16D-D91612C33A7E}" type="pres">
      <dgm:prSet presAssocID="{B87DAE9D-BBE1-44DF-BFBA-25F25EEC9DDB}" presName="aNode" presStyleLbl="bgShp" presStyleIdx="0" presStyleCnt="3" custLinFactNeighborX="2646" custLinFactNeighborY="2220"/>
      <dgm:spPr/>
    </dgm:pt>
    <dgm:pt modelId="{3F5DA904-8E28-43EE-961E-057EDC17191E}" type="pres">
      <dgm:prSet presAssocID="{B87DAE9D-BBE1-44DF-BFBA-25F25EEC9DDB}" presName="textNode" presStyleLbl="bgShp" presStyleIdx="0" presStyleCnt="3"/>
      <dgm:spPr/>
    </dgm:pt>
    <dgm:pt modelId="{A41B9F4C-827F-42B2-8E5A-B3C71BA809B5}" type="pres">
      <dgm:prSet presAssocID="{B87DAE9D-BBE1-44DF-BFBA-25F25EEC9DDB}" presName="compChildNode" presStyleCnt="0"/>
      <dgm:spPr/>
    </dgm:pt>
    <dgm:pt modelId="{738C9498-1938-4B82-A124-651AC32DE59E}" type="pres">
      <dgm:prSet presAssocID="{B87DAE9D-BBE1-44DF-BFBA-25F25EEC9DDB}" presName="theInnerList" presStyleCnt="0"/>
      <dgm:spPr/>
    </dgm:pt>
    <dgm:pt modelId="{4E4CF435-0E53-45F3-8494-53293F2678A2}" type="pres">
      <dgm:prSet presAssocID="{616397EE-2D3E-4A3F-A24F-1B136F567C69}" presName="childNode" presStyleLbl="node1" presStyleIdx="0" presStyleCnt="14">
        <dgm:presLayoutVars>
          <dgm:bulletEnabled val="1"/>
        </dgm:presLayoutVars>
      </dgm:prSet>
      <dgm:spPr/>
    </dgm:pt>
    <dgm:pt modelId="{561BD5CB-18B3-4DF9-A649-FC5D293B9ED7}" type="pres">
      <dgm:prSet presAssocID="{616397EE-2D3E-4A3F-A24F-1B136F567C69}" presName="aSpace2" presStyleCnt="0"/>
      <dgm:spPr/>
    </dgm:pt>
    <dgm:pt modelId="{E89D94B4-4106-4A12-AF86-5D6CE7DF9B58}" type="pres">
      <dgm:prSet presAssocID="{40ABDDD7-A8AB-4CDE-B71F-C91DF9FCE382}" presName="childNode" presStyleLbl="node1" presStyleIdx="1" presStyleCnt="14">
        <dgm:presLayoutVars>
          <dgm:bulletEnabled val="1"/>
        </dgm:presLayoutVars>
      </dgm:prSet>
      <dgm:spPr/>
    </dgm:pt>
    <dgm:pt modelId="{054B5D8D-F495-48B3-8008-59DAAD768C70}" type="pres">
      <dgm:prSet presAssocID="{40ABDDD7-A8AB-4CDE-B71F-C91DF9FCE382}" presName="aSpace2" presStyleCnt="0"/>
      <dgm:spPr/>
    </dgm:pt>
    <dgm:pt modelId="{C7538EFD-EA6D-432A-A526-426F954E4C82}" type="pres">
      <dgm:prSet presAssocID="{763D8935-327A-4BE2-B5CC-7D0CE8B69570}" presName="childNode" presStyleLbl="node1" presStyleIdx="2" presStyleCnt="14">
        <dgm:presLayoutVars>
          <dgm:bulletEnabled val="1"/>
        </dgm:presLayoutVars>
      </dgm:prSet>
      <dgm:spPr/>
    </dgm:pt>
    <dgm:pt modelId="{27F9BD34-9A40-4336-9C40-2C12D8CABDA1}" type="pres">
      <dgm:prSet presAssocID="{763D8935-327A-4BE2-B5CC-7D0CE8B69570}" presName="aSpace2" presStyleCnt="0"/>
      <dgm:spPr/>
    </dgm:pt>
    <dgm:pt modelId="{A63A68C9-EF49-4FDE-BAED-65E6248957AC}" type="pres">
      <dgm:prSet presAssocID="{8D79CBC6-F6C0-4B67-9A7E-9B34C7B751D2}" presName="childNode" presStyleLbl="node1" presStyleIdx="3" presStyleCnt="14">
        <dgm:presLayoutVars>
          <dgm:bulletEnabled val="1"/>
        </dgm:presLayoutVars>
      </dgm:prSet>
      <dgm:spPr/>
    </dgm:pt>
    <dgm:pt modelId="{4743FC40-0A65-44CA-86FF-E54A8366B359}" type="pres">
      <dgm:prSet presAssocID="{8D79CBC6-F6C0-4B67-9A7E-9B34C7B751D2}" presName="aSpace2" presStyleCnt="0"/>
      <dgm:spPr/>
    </dgm:pt>
    <dgm:pt modelId="{927940F8-B529-4821-BCB0-3415A2B6B442}" type="pres">
      <dgm:prSet presAssocID="{1AB330AB-BFD5-4098-9179-3EFD3CEEBE2D}" presName="childNode" presStyleLbl="node1" presStyleIdx="4" presStyleCnt="14">
        <dgm:presLayoutVars>
          <dgm:bulletEnabled val="1"/>
        </dgm:presLayoutVars>
      </dgm:prSet>
      <dgm:spPr/>
    </dgm:pt>
    <dgm:pt modelId="{90D7BCD1-C72C-4879-A29F-3C3A160393A1}" type="pres">
      <dgm:prSet presAssocID="{B87DAE9D-BBE1-44DF-BFBA-25F25EEC9DDB}" presName="aSpace" presStyleCnt="0"/>
      <dgm:spPr/>
    </dgm:pt>
    <dgm:pt modelId="{638EB776-0705-48EA-9612-A6A668F4FEBF}" type="pres">
      <dgm:prSet presAssocID="{490ABD5D-27E4-4731-813F-DED58B54AF98}" presName="compNode" presStyleCnt="0"/>
      <dgm:spPr/>
    </dgm:pt>
    <dgm:pt modelId="{FC945322-8DD6-4312-9F55-63FAACBC1C6E}" type="pres">
      <dgm:prSet presAssocID="{490ABD5D-27E4-4731-813F-DED58B54AF98}" presName="aNode" presStyleLbl="bgShp" presStyleIdx="1" presStyleCnt="3" custLinFactNeighborX="164" custLinFactNeighborY="-1007"/>
      <dgm:spPr/>
    </dgm:pt>
    <dgm:pt modelId="{7A2FFDDB-0D66-4F3E-873C-A6ABECD445B4}" type="pres">
      <dgm:prSet presAssocID="{490ABD5D-27E4-4731-813F-DED58B54AF98}" presName="textNode" presStyleLbl="bgShp" presStyleIdx="1" presStyleCnt="3"/>
      <dgm:spPr/>
    </dgm:pt>
    <dgm:pt modelId="{16F09176-E380-4E60-BC91-388130C64E22}" type="pres">
      <dgm:prSet presAssocID="{490ABD5D-27E4-4731-813F-DED58B54AF98}" presName="compChildNode" presStyleCnt="0"/>
      <dgm:spPr/>
    </dgm:pt>
    <dgm:pt modelId="{3D9ED05C-EF47-493F-B693-FFA5DCE18188}" type="pres">
      <dgm:prSet presAssocID="{490ABD5D-27E4-4731-813F-DED58B54AF98}" presName="theInnerList" presStyleCnt="0"/>
      <dgm:spPr/>
    </dgm:pt>
    <dgm:pt modelId="{D6FC9463-DFE8-402D-B310-CC97F71DEFEB}" type="pres">
      <dgm:prSet presAssocID="{795E956B-54C6-463F-99D1-601590998754}" presName="childNode" presStyleLbl="node1" presStyleIdx="5" presStyleCnt="14">
        <dgm:presLayoutVars>
          <dgm:bulletEnabled val="1"/>
        </dgm:presLayoutVars>
      </dgm:prSet>
      <dgm:spPr/>
    </dgm:pt>
    <dgm:pt modelId="{422E6F34-2EA9-4D66-BC59-BA519834A7E2}" type="pres">
      <dgm:prSet presAssocID="{795E956B-54C6-463F-99D1-601590998754}" presName="aSpace2" presStyleCnt="0"/>
      <dgm:spPr/>
    </dgm:pt>
    <dgm:pt modelId="{238DAFA1-3C24-4CD1-AEFC-1AC423B149CE}" type="pres">
      <dgm:prSet presAssocID="{AC797B79-82DF-4BBA-A9D6-28D5D39B4E14}" presName="childNode" presStyleLbl="node1" presStyleIdx="6" presStyleCnt="14">
        <dgm:presLayoutVars>
          <dgm:bulletEnabled val="1"/>
        </dgm:presLayoutVars>
      </dgm:prSet>
      <dgm:spPr/>
    </dgm:pt>
    <dgm:pt modelId="{CFD4C684-1B02-4CAA-978F-713620EE4537}" type="pres">
      <dgm:prSet presAssocID="{AC797B79-82DF-4BBA-A9D6-28D5D39B4E14}" presName="aSpace2" presStyleCnt="0"/>
      <dgm:spPr/>
    </dgm:pt>
    <dgm:pt modelId="{02F99FC4-C0BE-4224-9639-FA7AB68B493E}" type="pres">
      <dgm:prSet presAssocID="{FE6103BE-2D44-4E6B-9966-B521256EFBC4}" presName="childNode" presStyleLbl="node1" presStyleIdx="7" presStyleCnt="14">
        <dgm:presLayoutVars>
          <dgm:bulletEnabled val="1"/>
        </dgm:presLayoutVars>
      </dgm:prSet>
      <dgm:spPr/>
    </dgm:pt>
    <dgm:pt modelId="{73B71FCD-ABAF-4C39-A454-E12D9A8F1EBD}" type="pres">
      <dgm:prSet presAssocID="{FE6103BE-2D44-4E6B-9966-B521256EFBC4}" presName="aSpace2" presStyleCnt="0"/>
      <dgm:spPr/>
    </dgm:pt>
    <dgm:pt modelId="{4BC09E93-E0DA-4C91-9686-38CE0983B474}" type="pres">
      <dgm:prSet presAssocID="{B454ADCB-22B5-4831-A5CF-CE5278FB6769}" presName="childNode" presStyleLbl="node1" presStyleIdx="8" presStyleCnt="14">
        <dgm:presLayoutVars>
          <dgm:bulletEnabled val="1"/>
        </dgm:presLayoutVars>
      </dgm:prSet>
      <dgm:spPr/>
    </dgm:pt>
    <dgm:pt modelId="{C491827C-0045-4AB3-A6EE-E328E898DB6E}" type="pres">
      <dgm:prSet presAssocID="{B454ADCB-22B5-4831-A5CF-CE5278FB6769}" presName="aSpace2" presStyleCnt="0"/>
      <dgm:spPr/>
    </dgm:pt>
    <dgm:pt modelId="{32A21B5A-04DC-4099-9857-5E706F734660}" type="pres">
      <dgm:prSet presAssocID="{8EAFFCF8-4F86-40C3-85E2-011AE0EF82FE}" presName="childNode" presStyleLbl="node1" presStyleIdx="9" presStyleCnt="14">
        <dgm:presLayoutVars>
          <dgm:bulletEnabled val="1"/>
        </dgm:presLayoutVars>
      </dgm:prSet>
      <dgm:spPr/>
    </dgm:pt>
    <dgm:pt modelId="{7D733DD1-D7D0-46F0-91FA-46CBFB188EA7}" type="pres">
      <dgm:prSet presAssocID="{490ABD5D-27E4-4731-813F-DED58B54AF98}" presName="aSpace" presStyleCnt="0"/>
      <dgm:spPr/>
    </dgm:pt>
    <dgm:pt modelId="{E5893EFE-1EDF-4A31-BF3D-2049D4989015}" type="pres">
      <dgm:prSet presAssocID="{BC2E24EF-87CD-4A4F-A81A-FA73931B4024}" presName="compNode" presStyleCnt="0"/>
      <dgm:spPr/>
    </dgm:pt>
    <dgm:pt modelId="{4C84AA7C-5C2B-4668-A5D3-B1BC600FDDA2}" type="pres">
      <dgm:prSet presAssocID="{BC2E24EF-87CD-4A4F-A81A-FA73931B4024}" presName="aNode" presStyleLbl="bgShp" presStyleIdx="2" presStyleCnt="3" custLinFactNeighborX="-2340"/>
      <dgm:spPr/>
    </dgm:pt>
    <dgm:pt modelId="{31ED0E80-1883-4786-89A5-E48C106BC4DC}" type="pres">
      <dgm:prSet presAssocID="{BC2E24EF-87CD-4A4F-A81A-FA73931B4024}" presName="textNode" presStyleLbl="bgShp" presStyleIdx="2" presStyleCnt="3"/>
      <dgm:spPr/>
    </dgm:pt>
    <dgm:pt modelId="{032699EC-5D76-4B51-9440-6FBA625A37C7}" type="pres">
      <dgm:prSet presAssocID="{BC2E24EF-87CD-4A4F-A81A-FA73931B4024}" presName="compChildNode" presStyleCnt="0"/>
      <dgm:spPr/>
    </dgm:pt>
    <dgm:pt modelId="{ADC89741-F72A-4D55-B553-B13D2369DB84}" type="pres">
      <dgm:prSet presAssocID="{BC2E24EF-87CD-4A4F-A81A-FA73931B4024}" presName="theInnerList" presStyleCnt="0"/>
      <dgm:spPr/>
    </dgm:pt>
    <dgm:pt modelId="{1C59C009-CFC4-49DB-9A19-3B1277AA31F6}" type="pres">
      <dgm:prSet presAssocID="{2F8D1E7F-DAFA-4056-AE0A-75FF1475B767}" presName="childNode" presStyleLbl="node1" presStyleIdx="10" presStyleCnt="14">
        <dgm:presLayoutVars>
          <dgm:bulletEnabled val="1"/>
        </dgm:presLayoutVars>
      </dgm:prSet>
      <dgm:spPr/>
    </dgm:pt>
    <dgm:pt modelId="{A0465373-33DD-4F6E-9B2D-D9268BB99741}" type="pres">
      <dgm:prSet presAssocID="{2F8D1E7F-DAFA-4056-AE0A-75FF1475B767}" presName="aSpace2" presStyleCnt="0"/>
      <dgm:spPr/>
    </dgm:pt>
    <dgm:pt modelId="{F62E2CF3-F349-4A87-8B0E-2FF1FB3385CB}" type="pres">
      <dgm:prSet presAssocID="{95384C27-C734-4CB1-85EB-3087C763D301}" presName="childNode" presStyleLbl="node1" presStyleIdx="11" presStyleCnt="14">
        <dgm:presLayoutVars>
          <dgm:bulletEnabled val="1"/>
        </dgm:presLayoutVars>
      </dgm:prSet>
      <dgm:spPr/>
    </dgm:pt>
    <dgm:pt modelId="{F511CB20-68FE-4339-9CC2-803333AACB2C}" type="pres">
      <dgm:prSet presAssocID="{95384C27-C734-4CB1-85EB-3087C763D301}" presName="aSpace2" presStyleCnt="0"/>
      <dgm:spPr/>
    </dgm:pt>
    <dgm:pt modelId="{CF722D87-B79E-4D2E-B5D9-6420C1F9B049}" type="pres">
      <dgm:prSet presAssocID="{33A9D1B8-571B-43DC-B95A-24F65072BAEE}" presName="childNode" presStyleLbl="node1" presStyleIdx="12" presStyleCnt="14">
        <dgm:presLayoutVars>
          <dgm:bulletEnabled val="1"/>
        </dgm:presLayoutVars>
      </dgm:prSet>
      <dgm:spPr/>
    </dgm:pt>
    <dgm:pt modelId="{16CD7937-F853-47EF-953D-9A6C5342CCD8}" type="pres">
      <dgm:prSet presAssocID="{33A9D1B8-571B-43DC-B95A-24F65072BAEE}" presName="aSpace2" presStyleCnt="0"/>
      <dgm:spPr/>
    </dgm:pt>
    <dgm:pt modelId="{3368963A-1853-49CE-8716-C2D39C069DCC}" type="pres">
      <dgm:prSet presAssocID="{A83EDC96-C113-4106-A52E-5F11B5FDF6B4}" presName="childNode" presStyleLbl="node1" presStyleIdx="13" presStyleCnt="14">
        <dgm:presLayoutVars>
          <dgm:bulletEnabled val="1"/>
        </dgm:presLayoutVars>
      </dgm:prSet>
      <dgm:spPr/>
    </dgm:pt>
  </dgm:ptLst>
  <dgm:cxnLst>
    <dgm:cxn modelId="{E7AF5500-25C4-48C8-A673-77E35FA69E2A}" srcId="{490ABD5D-27E4-4731-813F-DED58B54AF98}" destId="{FE6103BE-2D44-4E6B-9966-B521256EFBC4}" srcOrd="2" destOrd="0" parTransId="{4C9DDEF9-D08D-4A74-A923-7360C806CC74}" sibTransId="{85E87114-A631-4B76-8767-0E5819318894}"/>
    <dgm:cxn modelId="{67E76611-CFC2-4404-BBA0-0EDF0E60B48E}" type="presOf" srcId="{95384C27-C734-4CB1-85EB-3087C763D301}" destId="{F62E2CF3-F349-4A87-8B0E-2FF1FB3385CB}" srcOrd="0" destOrd="0" presId="urn:microsoft.com/office/officeart/2005/8/layout/lProcess2"/>
    <dgm:cxn modelId="{FFD4DA15-39AE-43D3-9348-D6A31664225D}" type="presOf" srcId="{A83EDC96-C113-4106-A52E-5F11B5FDF6B4}" destId="{3368963A-1853-49CE-8716-C2D39C069DCC}" srcOrd="0" destOrd="0" presId="urn:microsoft.com/office/officeart/2005/8/layout/lProcess2"/>
    <dgm:cxn modelId="{38B4C123-CA83-4E06-920E-EC1C35925F65}" type="presOf" srcId="{33A9D1B8-571B-43DC-B95A-24F65072BAEE}" destId="{CF722D87-B79E-4D2E-B5D9-6420C1F9B049}" srcOrd="0" destOrd="0" presId="urn:microsoft.com/office/officeart/2005/8/layout/lProcess2"/>
    <dgm:cxn modelId="{4F8A1B5C-8798-4388-99D7-DC64D8D3FBFF}" type="presOf" srcId="{AC797B79-82DF-4BBA-A9D6-28D5D39B4E14}" destId="{238DAFA1-3C24-4CD1-AEFC-1AC423B149CE}" srcOrd="0" destOrd="0" presId="urn:microsoft.com/office/officeart/2005/8/layout/lProcess2"/>
    <dgm:cxn modelId="{B2F06767-DB3C-4085-BF21-FB62335BF198}" type="presOf" srcId="{795E956B-54C6-463F-99D1-601590998754}" destId="{D6FC9463-DFE8-402D-B310-CC97F71DEFEB}" srcOrd="0" destOrd="0" presId="urn:microsoft.com/office/officeart/2005/8/layout/lProcess2"/>
    <dgm:cxn modelId="{985C514A-2DF4-4F61-B516-86627FC2F2AE}" type="presOf" srcId="{BC2E24EF-87CD-4A4F-A81A-FA73931B4024}" destId="{31ED0E80-1883-4786-89A5-E48C106BC4DC}" srcOrd="1" destOrd="0" presId="urn:microsoft.com/office/officeart/2005/8/layout/lProcess2"/>
    <dgm:cxn modelId="{EB468D4C-136F-4D37-9A2E-E27660D675BB}" type="presOf" srcId="{8EAFFCF8-4F86-40C3-85E2-011AE0EF82FE}" destId="{32A21B5A-04DC-4099-9857-5E706F734660}" srcOrd="0" destOrd="0" presId="urn:microsoft.com/office/officeart/2005/8/layout/lProcess2"/>
    <dgm:cxn modelId="{A71E044D-E0F8-4BFC-BFE4-4BBA505C15DD}" type="presOf" srcId="{763D8935-327A-4BE2-B5CC-7D0CE8B69570}" destId="{C7538EFD-EA6D-432A-A526-426F954E4C82}" srcOrd="0" destOrd="0" presId="urn:microsoft.com/office/officeart/2005/8/layout/lProcess2"/>
    <dgm:cxn modelId="{EA11B36D-3BD0-4951-BE73-689DCF7D89DB}" srcId="{BC2E24EF-87CD-4A4F-A81A-FA73931B4024}" destId="{33A9D1B8-571B-43DC-B95A-24F65072BAEE}" srcOrd="2" destOrd="0" parTransId="{D7141972-D0CA-4762-9D82-E75B14752260}" sibTransId="{3A8C52F8-C120-44CA-955A-DF11273415E2}"/>
    <dgm:cxn modelId="{1C68874E-3560-48B9-8E82-B8D2A4AF66A3}" srcId="{1FB0B0BC-7F23-4346-8B4D-8F23C87BD7CB}" destId="{B87DAE9D-BBE1-44DF-BFBA-25F25EEC9DDB}" srcOrd="0" destOrd="0" parTransId="{8E0F2E82-E812-4783-B4D4-FAA4CC1F868B}" sibTransId="{A6DA81D1-6097-45F6-88E4-36F8DA459064}"/>
    <dgm:cxn modelId="{2C88424F-14FA-48A2-8B0E-4F1BA1B4AF40}" type="presOf" srcId="{FE6103BE-2D44-4E6B-9966-B521256EFBC4}" destId="{02F99FC4-C0BE-4224-9639-FA7AB68B493E}" srcOrd="0" destOrd="0" presId="urn:microsoft.com/office/officeart/2005/8/layout/lProcess2"/>
    <dgm:cxn modelId="{9E51E472-036D-43BE-82B1-7378946F1E99}" type="presOf" srcId="{8D79CBC6-F6C0-4B67-9A7E-9B34C7B751D2}" destId="{A63A68C9-EF49-4FDE-BAED-65E6248957AC}" srcOrd="0" destOrd="0" presId="urn:microsoft.com/office/officeart/2005/8/layout/lProcess2"/>
    <dgm:cxn modelId="{79BC2073-495E-42A1-B342-F30E1DEC8CF3}" srcId="{B87DAE9D-BBE1-44DF-BFBA-25F25EEC9DDB}" destId="{8D79CBC6-F6C0-4B67-9A7E-9B34C7B751D2}" srcOrd="3" destOrd="0" parTransId="{49471F3E-1C4A-4227-89D1-5AE6026BDA22}" sibTransId="{D34EFDBF-34F6-4D77-AC85-5581FED88963}"/>
    <dgm:cxn modelId="{79321555-BBF9-4FF4-89DE-A414DAAF3B3F}" srcId="{B87DAE9D-BBE1-44DF-BFBA-25F25EEC9DDB}" destId="{616397EE-2D3E-4A3F-A24F-1B136F567C69}" srcOrd="0" destOrd="0" parTransId="{9123CECF-4467-49D7-BBE0-76B4478F1AE9}" sibTransId="{5C741B58-599B-4B13-87AC-4B3470560331}"/>
    <dgm:cxn modelId="{130E7975-D99D-402C-A1B7-4EAA79F30296}" srcId="{490ABD5D-27E4-4731-813F-DED58B54AF98}" destId="{AC797B79-82DF-4BBA-A9D6-28D5D39B4E14}" srcOrd="1" destOrd="0" parTransId="{FB50AD3D-992C-43AD-9D01-2006F63ADE5C}" sibTransId="{1692AF44-2AC4-43A2-98BA-6942D741E016}"/>
    <dgm:cxn modelId="{5BBF397A-F533-400A-A069-9018671DCB95}" type="presOf" srcId="{1FB0B0BC-7F23-4346-8B4D-8F23C87BD7CB}" destId="{BED2B9E9-4216-4F5C-BB85-12D6C1510DCC}" srcOrd="0" destOrd="0" presId="urn:microsoft.com/office/officeart/2005/8/layout/lProcess2"/>
    <dgm:cxn modelId="{1AF5767D-6B17-4EA5-84C1-B324C753274A}" type="presOf" srcId="{BC2E24EF-87CD-4A4F-A81A-FA73931B4024}" destId="{4C84AA7C-5C2B-4668-A5D3-B1BC600FDDA2}" srcOrd="0" destOrd="0" presId="urn:microsoft.com/office/officeart/2005/8/layout/lProcess2"/>
    <dgm:cxn modelId="{D465648A-8EDC-448C-B312-8965AEFA43A2}" srcId="{490ABD5D-27E4-4731-813F-DED58B54AF98}" destId="{795E956B-54C6-463F-99D1-601590998754}" srcOrd="0" destOrd="0" parTransId="{B122AFB1-7490-4A6F-92A8-6B7EAF98A9C1}" sibTransId="{FD1818F5-048C-40CA-975B-D351FA2AB219}"/>
    <dgm:cxn modelId="{E0FD4F8F-E976-4F61-820A-581199135BEA}" srcId="{490ABD5D-27E4-4731-813F-DED58B54AF98}" destId="{8EAFFCF8-4F86-40C3-85E2-011AE0EF82FE}" srcOrd="4" destOrd="0" parTransId="{224EDEF2-B840-4D22-AE62-625F246279FC}" sibTransId="{8C909386-9178-4372-A501-CE73024979DC}"/>
    <dgm:cxn modelId="{BC67BD95-07A4-4C02-8BF0-2DAC3AAD8CD8}" type="presOf" srcId="{490ABD5D-27E4-4731-813F-DED58B54AF98}" destId="{FC945322-8DD6-4312-9F55-63FAACBC1C6E}" srcOrd="0" destOrd="0" presId="urn:microsoft.com/office/officeart/2005/8/layout/lProcess2"/>
    <dgm:cxn modelId="{DF7D3EA0-A776-46FA-A9B7-BB48E0BC03D2}" type="presOf" srcId="{2F8D1E7F-DAFA-4056-AE0A-75FF1475B767}" destId="{1C59C009-CFC4-49DB-9A19-3B1277AA31F6}" srcOrd="0" destOrd="0" presId="urn:microsoft.com/office/officeart/2005/8/layout/lProcess2"/>
    <dgm:cxn modelId="{A1C803A2-7FC2-4625-8030-5629348845E7}" type="presOf" srcId="{B454ADCB-22B5-4831-A5CF-CE5278FB6769}" destId="{4BC09E93-E0DA-4C91-9686-38CE0983B474}" srcOrd="0" destOrd="0" presId="urn:microsoft.com/office/officeart/2005/8/layout/lProcess2"/>
    <dgm:cxn modelId="{02A049AD-C141-4729-BBAB-83C450810650}" srcId="{1FB0B0BC-7F23-4346-8B4D-8F23C87BD7CB}" destId="{490ABD5D-27E4-4731-813F-DED58B54AF98}" srcOrd="1" destOrd="0" parTransId="{D044F24E-F6A1-4DE8-8C78-1297D1A036C2}" sibTransId="{85281BF5-CE7B-4014-8134-ACB55B38BEAD}"/>
    <dgm:cxn modelId="{79A0ECB3-D835-4077-89E3-0DDBD279E78A}" srcId="{BC2E24EF-87CD-4A4F-A81A-FA73931B4024}" destId="{A83EDC96-C113-4106-A52E-5F11B5FDF6B4}" srcOrd="3" destOrd="0" parTransId="{FFA1C430-8A7A-4590-BE9F-84D09E5B2E81}" sibTransId="{16B1CCFF-BE04-49C1-90E7-DDAE743769E9}"/>
    <dgm:cxn modelId="{598E64B9-F83F-4F46-AA32-09FED6D7ECDE}" srcId="{B87DAE9D-BBE1-44DF-BFBA-25F25EEC9DDB}" destId="{1AB330AB-BFD5-4098-9179-3EFD3CEEBE2D}" srcOrd="4" destOrd="0" parTransId="{C3E013D7-2C33-4427-ACF9-2A253025AAA8}" sibTransId="{A9C92D11-7D2A-4A89-8A2C-7C21DAAF4E9D}"/>
    <dgm:cxn modelId="{C63A6EBC-79D6-4FE5-B37E-FB453FC3B992}" type="presOf" srcId="{B87DAE9D-BBE1-44DF-BFBA-25F25EEC9DDB}" destId="{8DD46F04-029B-467E-B16D-D91612C33A7E}" srcOrd="0" destOrd="0" presId="urn:microsoft.com/office/officeart/2005/8/layout/lProcess2"/>
    <dgm:cxn modelId="{94684DBD-04E3-4A1F-B91F-1FF5B51259E6}" type="presOf" srcId="{40ABDDD7-A8AB-4CDE-B71F-C91DF9FCE382}" destId="{E89D94B4-4106-4A12-AF86-5D6CE7DF9B58}" srcOrd="0" destOrd="0" presId="urn:microsoft.com/office/officeart/2005/8/layout/lProcess2"/>
    <dgm:cxn modelId="{509490C2-FDD2-46DD-9076-A2B052778528}" srcId="{B87DAE9D-BBE1-44DF-BFBA-25F25EEC9DDB}" destId="{763D8935-327A-4BE2-B5CC-7D0CE8B69570}" srcOrd="2" destOrd="0" parTransId="{D2ACA170-9BEE-436A-9BDB-8F72DC32B205}" sibTransId="{2B400D34-D90C-4580-8E45-EDB81942A320}"/>
    <dgm:cxn modelId="{795C18CF-0475-4BF4-AD72-BC50A6801979}" type="presOf" srcId="{490ABD5D-27E4-4731-813F-DED58B54AF98}" destId="{7A2FFDDB-0D66-4F3E-873C-A6ABECD445B4}" srcOrd="1" destOrd="0" presId="urn:microsoft.com/office/officeart/2005/8/layout/lProcess2"/>
    <dgm:cxn modelId="{F27034D0-97F1-42B9-9555-14A24F288E99}" type="presOf" srcId="{616397EE-2D3E-4A3F-A24F-1B136F567C69}" destId="{4E4CF435-0E53-45F3-8494-53293F2678A2}" srcOrd="0" destOrd="0" presId="urn:microsoft.com/office/officeart/2005/8/layout/lProcess2"/>
    <dgm:cxn modelId="{A6D7BFD2-388D-4987-93AE-11C8145F6767}" type="presOf" srcId="{1AB330AB-BFD5-4098-9179-3EFD3CEEBE2D}" destId="{927940F8-B529-4821-BCB0-3415A2B6B442}" srcOrd="0" destOrd="0" presId="urn:microsoft.com/office/officeart/2005/8/layout/lProcess2"/>
    <dgm:cxn modelId="{BEF189D6-D9C0-4FFF-BD7A-2874C872D638}" srcId="{490ABD5D-27E4-4731-813F-DED58B54AF98}" destId="{B454ADCB-22B5-4831-A5CF-CE5278FB6769}" srcOrd="3" destOrd="0" parTransId="{5598B196-CF43-4C93-8CA2-A511925DA1BF}" sibTransId="{5DD6273A-D7B1-43EF-B673-825B01A79FF1}"/>
    <dgm:cxn modelId="{6655E8D9-6615-4341-9A90-727064C465B7}" srcId="{BC2E24EF-87CD-4A4F-A81A-FA73931B4024}" destId="{95384C27-C734-4CB1-85EB-3087C763D301}" srcOrd="1" destOrd="0" parTransId="{9A425CCE-8326-4FE0-8DCB-E378EC7B93CB}" sibTransId="{3263D972-2E9E-4C16-A007-69442F9A6272}"/>
    <dgm:cxn modelId="{09A0C6DF-F13C-4194-B07A-99DD08135AE3}" srcId="{1FB0B0BC-7F23-4346-8B4D-8F23C87BD7CB}" destId="{BC2E24EF-87CD-4A4F-A81A-FA73931B4024}" srcOrd="2" destOrd="0" parTransId="{69FC8537-7D39-4E42-9BF9-DD1838374759}" sibTransId="{78BA2FDD-883F-4C92-AE4B-84E0105DA04B}"/>
    <dgm:cxn modelId="{849519E4-933E-4F7A-99AC-873B05F04372}" type="presOf" srcId="{B87DAE9D-BBE1-44DF-BFBA-25F25EEC9DDB}" destId="{3F5DA904-8E28-43EE-961E-057EDC17191E}" srcOrd="1" destOrd="0" presId="urn:microsoft.com/office/officeart/2005/8/layout/lProcess2"/>
    <dgm:cxn modelId="{CA8C01FF-CDE0-4666-80D1-EB842B5495D5}" srcId="{B87DAE9D-BBE1-44DF-BFBA-25F25EEC9DDB}" destId="{40ABDDD7-A8AB-4CDE-B71F-C91DF9FCE382}" srcOrd="1" destOrd="0" parTransId="{908853F3-83B9-4326-B51A-4D794A955161}" sibTransId="{69146CCC-98D4-4E14-92B9-BD54F4A437F5}"/>
    <dgm:cxn modelId="{B75F1EFF-C9C2-4AD2-A192-FF391C240680}" srcId="{BC2E24EF-87CD-4A4F-A81A-FA73931B4024}" destId="{2F8D1E7F-DAFA-4056-AE0A-75FF1475B767}" srcOrd="0" destOrd="0" parTransId="{40D00E8D-F868-47DA-B972-4842FD910056}" sibTransId="{D9C78CD0-A95D-4131-B76F-7B56E918CBD8}"/>
    <dgm:cxn modelId="{ABFA6B48-5FB5-43B3-A3DC-83B70898C47B}" type="presParOf" srcId="{BED2B9E9-4216-4F5C-BB85-12D6C1510DCC}" destId="{9E854B44-5E34-4940-8E4F-EADDFBF9194C}" srcOrd="0" destOrd="0" presId="urn:microsoft.com/office/officeart/2005/8/layout/lProcess2"/>
    <dgm:cxn modelId="{C5301B3A-8B3E-4825-B26E-C8E6E27B932E}" type="presParOf" srcId="{9E854B44-5E34-4940-8E4F-EADDFBF9194C}" destId="{8DD46F04-029B-467E-B16D-D91612C33A7E}" srcOrd="0" destOrd="0" presId="urn:microsoft.com/office/officeart/2005/8/layout/lProcess2"/>
    <dgm:cxn modelId="{24362BD6-AE6C-43F5-8B4D-077BEC854D97}" type="presParOf" srcId="{9E854B44-5E34-4940-8E4F-EADDFBF9194C}" destId="{3F5DA904-8E28-43EE-961E-057EDC17191E}" srcOrd="1" destOrd="0" presId="urn:microsoft.com/office/officeart/2005/8/layout/lProcess2"/>
    <dgm:cxn modelId="{8B4AA324-5C59-417A-A45B-C6AA8868FBB4}" type="presParOf" srcId="{9E854B44-5E34-4940-8E4F-EADDFBF9194C}" destId="{A41B9F4C-827F-42B2-8E5A-B3C71BA809B5}" srcOrd="2" destOrd="0" presId="urn:microsoft.com/office/officeart/2005/8/layout/lProcess2"/>
    <dgm:cxn modelId="{C96F72CF-5340-4FBD-BAED-FAB7330C340D}" type="presParOf" srcId="{A41B9F4C-827F-42B2-8E5A-B3C71BA809B5}" destId="{738C9498-1938-4B82-A124-651AC32DE59E}" srcOrd="0" destOrd="0" presId="urn:microsoft.com/office/officeart/2005/8/layout/lProcess2"/>
    <dgm:cxn modelId="{F07E7C7E-863B-445B-99CE-4E0FA7CC7314}" type="presParOf" srcId="{738C9498-1938-4B82-A124-651AC32DE59E}" destId="{4E4CF435-0E53-45F3-8494-53293F2678A2}" srcOrd="0" destOrd="0" presId="urn:microsoft.com/office/officeart/2005/8/layout/lProcess2"/>
    <dgm:cxn modelId="{5AAC77E8-C674-4D7C-A2D0-E033EF0E7881}" type="presParOf" srcId="{738C9498-1938-4B82-A124-651AC32DE59E}" destId="{561BD5CB-18B3-4DF9-A649-FC5D293B9ED7}" srcOrd="1" destOrd="0" presId="urn:microsoft.com/office/officeart/2005/8/layout/lProcess2"/>
    <dgm:cxn modelId="{0935C781-ED01-48B9-85BD-AD3798A741EA}" type="presParOf" srcId="{738C9498-1938-4B82-A124-651AC32DE59E}" destId="{E89D94B4-4106-4A12-AF86-5D6CE7DF9B58}" srcOrd="2" destOrd="0" presId="urn:microsoft.com/office/officeart/2005/8/layout/lProcess2"/>
    <dgm:cxn modelId="{08B974F4-1AB4-4E66-A1F1-AAF797C0D71B}" type="presParOf" srcId="{738C9498-1938-4B82-A124-651AC32DE59E}" destId="{054B5D8D-F495-48B3-8008-59DAAD768C70}" srcOrd="3" destOrd="0" presId="urn:microsoft.com/office/officeart/2005/8/layout/lProcess2"/>
    <dgm:cxn modelId="{CF58719B-9B87-47E1-9597-F3AEB472DCE2}" type="presParOf" srcId="{738C9498-1938-4B82-A124-651AC32DE59E}" destId="{C7538EFD-EA6D-432A-A526-426F954E4C82}" srcOrd="4" destOrd="0" presId="urn:microsoft.com/office/officeart/2005/8/layout/lProcess2"/>
    <dgm:cxn modelId="{BC741448-9D63-4114-9C5D-DA4F67E964F9}" type="presParOf" srcId="{738C9498-1938-4B82-A124-651AC32DE59E}" destId="{27F9BD34-9A40-4336-9C40-2C12D8CABDA1}" srcOrd="5" destOrd="0" presId="urn:microsoft.com/office/officeart/2005/8/layout/lProcess2"/>
    <dgm:cxn modelId="{8D7E212D-2233-4ACF-A7F1-27B65FC340BE}" type="presParOf" srcId="{738C9498-1938-4B82-A124-651AC32DE59E}" destId="{A63A68C9-EF49-4FDE-BAED-65E6248957AC}" srcOrd="6" destOrd="0" presId="urn:microsoft.com/office/officeart/2005/8/layout/lProcess2"/>
    <dgm:cxn modelId="{3BC926F5-BAEA-4B7C-AA00-67EE889695FE}" type="presParOf" srcId="{738C9498-1938-4B82-A124-651AC32DE59E}" destId="{4743FC40-0A65-44CA-86FF-E54A8366B359}" srcOrd="7" destOrd="0" presId="urn:microsoft.com/office/officeart/2005/8/layout/lProcess2"/>
    <dgm:cxn modelId="{B8D75160-C177-4367-9321-46BD608B126A}" type="presParOf" srcId="{738C9498-1938-4B82-A124-651AC32DE59E}" destId="{927940F8-B529-4821-BCB0-3415A2B6B442}" srcOrd="8" destOrd="0" presId="urn:microsoft.com/office/officeart/2005/8/layout/lProcess2"/>
    <dgm:cxn modelId="{30FEE34D-D7CB-4490-A0A6-5891F544107E}" type="presParOf" srcId="{BED2B9E9-4216-4F5C-BB85-12D6C1510DCC}" destId="{90D7BCD1-C72C-4879-A29F-3C3A160393A1}" srcOrd="1" destOrd="0" presId="urn:microsoft.com/office/officeart/2005/8/layout/lProcess2"/>
    <dgm:cxn modelId="{2ABBBD4E-1969-41F1-A1B9-07B3E99A811A}" type="presParOf" srcId="{BED2B9E9-4216-4F5C-BB85-12D6C1510DCC}" destId="{638EB776-0705-48EA-9612-A6A668F4FEBF}" srcOrd="2" destOrd="0" presId="urn:microsoft.com/office/officeart/2005/8/layout/lProcess2"/>
    <dgm:cxn modelId="{5412F660-3877-4A4B-838A-1F641755F673}" type="presParOf" srcId="{638EB776-0705-48EA-9612-A6A668F4FEBF}" destId="{FC945322-8DD6-4312-9F55-63FAACBC1C6E}" srcOrd="0" destOrd="0" presId="urn:microsoft.com/office/officeart/2005/8/layout/lProcess2"/>
    <dgm:cxn modelId="{640044E5-CFDC-43E8-9867-8231E461906E}" type="presParOf" srcId="{638EB776-0705-48EA-9612-A6A668F4FEBF}" destId="{7A2FFDDB-0D66-4F3E-873C-A6ABECD445B4}" srcOrd="1" destOrd="0" presId="urn:microsoft.com/office/officeart/2005/8/layout/lProcess2"/>
    <dgm:cxn modelId="{05FB236E-D687-4BEC-AC52-B72D9F029EB8}" type="presParOf" srcId="{638EB776-0705-48EA-9612-A6A668F4FEBF}" destId="{16F09176-E380-4E60-BC91-388130C64E22}" srcOrd="2" destOrd="0" presId="urn:microsoft.com/office/officeart/2005/8/layout/lProcess2"/>
    <dgm:cxn modelId="{4238015A-B7B0-473B-BED8-1779083BCEDB}" type="presParOf" srcId="{16F09176-E380-4E60-BC91-388130C64E22}" destId="{3D9ED05C-EF47-493F-B693-FFA5DCE18188}" srcOrd="0" destOrd="0" presId="urn:microsoft.com/office/officeart/2005/8/layout/lProcess2"/>
    <dgm:cxn modelId="{716E165C-AF51-4A4B-B636-455D3FBB98F2}" type="presParOf" srcId="{3D9ED05C-EF47-493F-B693-FFA5DCE18188}" destId="{D6FC9463-DFE8-402D-B310-CC97F71DEFEB}" srcOrd="0" destOrd="0" presId="urn:microsoft.com/office/officeart/2005/8/layout/lProcess2"/>
    <dgm:cxn modelId="{614127AC-7616-41C8-9C3F-F4843897EE72}" type="presParOf" srcId="{3D9ED05C-EF47-493F-B693-FFA5DCE18188}" destId="{422E6F34-2EA9-4D66-BC59-BA519834A7E2}" srcOrd="1" destOrd="0" presId="urn:microsoft.com/office/officeart/2005/8/layout/lProcess2"/>
    <dgm:cxn modelId="{A6B25C51-527C-42C7-9CE1-B7D7DF6BB449}" type="presParOf" srcId="{3D9ED05C-EF47-493F-B693-FFA5DCE18188}" destId="{238DAFA1-3C24-4CD1-AEFC-1AC423B149CE}" srcOrd="2" destOrd="0" presId="urn:microsoft.com/office/officeart/2005/8/layout/lProcess2"/>
    <dgm:cxn modelId="{E16BD4B8-77D9-4194-B214-BFB6BA5B12E1}" type="presParOf" srcId="{3D9ED05C-EF47-493F-B693-FFA5DCE18188}" destId="{CFD4C684-1B02-4CAA-978F-713620EE4537}" srcOrd="3" destOrd="0" presId="urn:microsoft.com/office/officeart/2005/8/layout/lProcess2"/>
    <dgm:cxn modelId="{BB66E460-67EA-43AB-9A2C-06DCFF2367E7}" type="presParOf" srcId="{3D9ED05C-EF47-493F-B693-FFA5DCE18188}" destId="{02F99FC4-C0BE-4224-9639-FA7AB68B493E}" srcOrd="4" destOrd="0" presId="urn:microsoft.com/office/officeart/2005/8/layout/lProcess2"/>
    <dgm:cxn modelId="{518B3A45-CF41-4A07-AE6A-B5783FA941DB}" type="presParOf" srcId="{3D9ED05C-EF47-493F-B693-FFA5DCE18188}" destId="{73B71FCD-ABAF-4C39-A454-E12D9A8F1EBD}" srcOrd="5" destOrd="0" presId="urn:microsoft.com/office/officeart/2005/8/layout/lProcess2"/>
    <dgm:cxn modelId="{E7D3C189-00A9-4B9F-B302-6E2ED71CD6B8}" type="presParOf" srcId="{3D9ED05C-EF47-493F-B693-FFA5DCE18188}" destId="{4BC09E93-E0DA-4C91-9686-38CE0983B474}" srcOrd="6" destOrd="0" presId="urn:microsoft.com/office/officeart/2005/8/layout/lProcess2"/>
    <dgm:cxn modelId="{7B31269F-62A9-4767-BCF9-57A0BCE7B7CE}" type="presParOf" srcId="{3D9ED05C-EF47-493F-B693-FFA5DCE18188}" destId="{C491827C-0045-4AB3-A6EE-E328E898DB6E}" srcOrd="7" destOrd="0" presId="urn:microsoft.com/office/officeart/2005/8/layout/lProcess2"/>
    <dgm:cxn modelId="{A391ADB0-85A4-459A-8E18-EBF011879F29}" type="presParOf" srcId="{3D9ED05C-EF47-493F-B693-FFA5DCE18188}" destId="{32A21B5A-04DC-4099-9857-5E706F734660}" srcOrd="8" destOrd="0" presId="urn:microsoft.com/office/officeart/2005/8/layout/lProcess2"/>
    <dgm:cxn modelId="{D9E6B744-9E7F-489E-A69B-1276E82D2BDD}" type="presParOf" srcId="{BED2B9E9-4216-4F5C-BB85-12D6C1510DCC}" destId="{7D733DD1-D7D0-46F0-91FA-46CBFB188EA7}" srcOrd="3" destOrd="0" presId="urn:microsoft.com/office/officeart/2005/8/layout/lProcess2"/>
    <dgm:cxn modelId="{2590D3B6-1FF8-42C7-8DDB-1C484B7DAEA6}" type="presParOf" srcId="{BED2B9E9-4216-4F5C-BB85-12D6C1510DCC}" destId="{E5893EFE-1EDF-4A31-BF3D-2049D4989015}" srcOrd="4" destOrd="0" presId="urn:microsoft.com/office/officeart/2005/8/layout/lProcess2"/>
    <dgm:cxn modelId="{DCAE53B8-1BB9-4164-9638-54796B2BACE7}" type="presParOf" srcId="{E5893EFE-1EDF-4A31-BF3D-2049D4989015}" destId="{4C84AA7C-5C2B-4668-A5D3-B1BC600FDDA2}" srcOrd="0" destOrd="0" presId="urn:microsoft.com/office/officeart/2005/8/layout/lProcess2"/>
    <dgm:cxn modelId="{2AA7F670-3304-40C0-BE73-AF351B51B09F}" type="presParOf" srcId="{E5893EFE-1EDF-4A31-BF3D-2049D4989015}" destId="{31ED0E80-1883-4786-89A5-E48C106BC4DC}" srcOrd="1" destOrd="0" presId="urn:microsoft.com/office/officeart/2005/8/layout/lProcess2"/>
    <dgm:cxn modelId="{7335B087-F312-48AC-AC66-9E19188DC1E9}" type="presParOf" srcId="{E5893EFE-1EDF-4A31-BF3D-2049D4989015}" destId="{032699EC-5D76-4B51-9440-6FBA625A37C7}" srcOrd="2" destOrd="0" presId="urn:microsoft.com/office/officeart/2005/8/layout/lProcess2"/>
    <dgm:cxn modelId="{1BAAFFB2-9B0F-4A9C-B089-B2A2B2F16B4D}" type="presParOf" srcId="{032699EC-5D76-4B51-9440-6FBA625A37C7}" destId="{ADC89741-F72A-4D55-B553-B13D2369DB84}" srcOrd="0" destOrd="0" presId="urn:microsoft.com/office/officeart/2005/8/layout/lProcess2"/>
    <dgm:cxn modelId="{F00868FB-8AA1-4DA3-8855-F1E99B3FFABF}" type="presParOf" srcId="{ADC89741-F72A-4D55-B553-B13D2369DB84}" destId="{1C59C009-CFC4-49DB-9A19-3B1277AA31F6}" srcOrd="0" destOrd="0" presId="urn:microsoft.com/office/officeart/2005/8/layout/lProcess2"/>
    <dgm:cxn modelId="{851B2C73-7D03-47DA-B982-D7A6A56AD385}" type="presParOf" srcId="{ADC89741-F72A-4D55-B553-B13D2369DB84}" destId="{A0465373-33DD-4F6E-9B2D-D9268BB99741}" srcOrd="1" destOrd="0" presId="urn:microsoft.com/office/officeart/2005/8/layout/lProcess2"/>
    <dgm:cxn modelId="{B677D654-A617-457D-B849-0E624D04ED97}" type="presParOf" srcId="{ADC89741-F72A-4D55-B553-B13D2369DB84}" destId="{F62E2CF3-F349-4A87-8B0E-2FF1FB3385CB}" srcOrd="2" destOrd="0" presId="urn:microsoft.com/office/officeart/2005/8/layout/lProcess2"/>
    <dgm:cxn modelId="{5D6747EC-C206-4194-89F3-0A218F839C30}" type="presParOf" srcId="{ADC89741-F72A-4D55-B553-B13D2369DB84}" destId="{F511CB20-68FE-4339-9CC2-803333AACB2C}" srcOrd="3" destOrd="0" presId="urn:microsoft.com/office/officeart/2005/8/layout/lProcess2"/>
    <dgm:cxn modelId="{D0758D1D-DC85-4699-8DA9-AC0AA3425837}" type="presParOf" srcId="{ADC89741-F72A-4D55-B553-B13D2369DB84}" destId="{CF722D87-B79E-4D2E-B5D9-6420C1F9B049}" srcOrd="4" destOrd="0" presId="urn:microsoft.com/office/officeart/2005/8/layout/lProcess2"/>
    <dgm:cxn modelId="{320413DF-59E8-4F90-8D7D-32A98CF248AA}" type="presParOf" srcId="{ADC89741-F72A-4D55-B553-B13D2369DB84}" destId="{16CD7937-F853-47EF-953D-9A6C5342CCD8}" srcOrd="5" destOrd="0" presId="urn:microsoft.com/office/officeart/2005/8/layout/lProcess2"/>
    <dgm:cxn modelId="{B1169104-1DD0-4BA5-9432-03060C039440}" type="presParOf" srcId="{ADC89741-F72A-4D55-B553-B13D2369DB84}" destId="{3368963A-1853-49CE-8716-C2D39C069DCC}" srcOrd="6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A4FB45E-A5D9-4D1C-BE9B-BB04E506A6D2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3B02E3CE-3111-4879-B86B-094314A71A02}">
      <dgm:prSet phldrT="[Testo]" custT="1"/>
      <dgm:spPr>
        <a:gradFill flip="none" rotWithShape="0">
          <a:gsLst>
            <a:gs pos="0">
              <a:schemeClr val="accent1"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1"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1"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2700000" scaled="1"/>
          <a:tileRect/>
        </a:gradFill>
        <a:effectLst>
          <a:innerShdw blurRad="63500" dist="50800" dir="135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it-IT" sz="1800" dirty="0"/>
            <a:t>PORTALE WEB E ART’APP</a:t>
          </a:r>
        </a:p>
      </dgm:t>
    </dgm:pt>
    <dgm:pt modelId="{A1966989-40B0-4909-8168-2FADE077A902}" type="parTrans" cxnId="{E38895DF-7DC4-47CC-99C4-EEF739498A5A}">
      <dgm:prSet/>
      <dgm:spPr/>
      <dgm:t>
        <a:bodyPr/>
        <a:lstStyle/>
        <a:p>
          <a:endParaRPr lang="it-IT"/>
        </a:p>
      </dgm:t>
    </dgm:pt>
    <dgm:pt modelId="{FB84660B-1CDF-4502-827A-EBBEBBCA8F6D}" type="sibTrans" cxnId="{E38895DF-7DC4-47CC-99C4-EEF739498A5A}">
      <dgm:prSet/>
      <dgm:spPr/>
      <dgm:t>
        <a:bodyPr/>
        <a:lstStyle/>
        <a:p>
          <a:endParaRPr lang="it-IT"/>
        </a:p>
      </dgm:t>
    </dgm:pt>
    <dgm:pt modelId="{76595328-2921-4FA1-A985-E9E026A624C9}">
      <dgm:prSet phldrT="[Testo]" custT="1"/>
      <dgm:spPr>
        <a:solidFill>
          <a:srgbClr val="92D050"/>
        </a:solidFill>
        <a:effectLst>
          <a:innerShdw blurRad="63500" dist="50800" dir="135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it-IT" sz="1600" dirty="0"/>
            <a:t>ACCOMPAGNAMENTO ALL’ABITARE</a:t>
          </a:r>
        </a:p>
      </dgm:t>
    </dgm:pt>
    <dgm:pt modelId="{D8BFC382-90E2-485F-A5CA-B96F2BA62666}" type="parTrans" cxnId="{0B44E71D-0D98-4AF9-B097-9162C470C5BB}">
      <dgm:prSet/>
      <dgm:spPr/>
      <dgm:t>
        <a:bodyPr/>
        <a:lstStyle/>
        <a:p>
          <a:endParaRPr lang="it-IT"/>
        </a:p>
      </dgm:t>
    </dgm:pt>
    <dgm:pt modelId="{4CC1FDF3-EE9B-4ED4-8679-E1216C1ACD9C}" type="sibTrans" cxnId="{0B44E71D-0D98-4AF9-B097-9162C470C5BB}">
      <dgm:prSet/>
      <dgm:spPr/>
      <dgm:t>
        <a:bodyPr/>
        <a:lstStyle/>
        <a:p>
          <a:endParaRPr lang="it-IT"/>
        </a:p>
      </dgm:t>
    </dgm:pt>
    <dgm:pt modelId="{E1B111B8-0D0A-4DD3-B480-B6FEC8344A97}">
      <dgm:prSet phldrT="[Testo]" custT="1"/>
      <dgm:spPr>
        <a:solidFill>
          <a:srgbClr val="FF66FF"/>
        </a:solidFill>
        <a:effectLst>
          <a:innerShdw blurRad="63500" dist="50800" dir="135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it-IT" sz="1600" dirty="0"/>
            <a:t>QUALITA’ DELL’ABITARE</a:t>
          </a:r>
        </a:p>
      </dgm:t>
    </dgm:pt>
    <dgm:pt modelId="{03D9D771-63A4-4D0A-A8E8-58261E40A532}" type="parTrans" cxnId="{9091DC2E-1DE9-4311-9B47-6D6DE115B34D}">
      <dgm:prSet/>
      <dgm:spPr/>
      <dgm:t>
        <a:bodyPr/>
        <a:lstStyle/>
        <a:p>
          <a:endParaRPr lang="it-IT"/>
        </a:p>
      </dgm:t>
    </dgm:pt>
    <dgm:pt modelId="{9CE98D33-A1B1-4C4B-8E71-A941DD71E218}" type="sibTrans" cxnId="{9091DC2E-1DE9-4311-9B47-6D6DE115B34D}">
      <dgm:prSet/>
      <dgm:spPr/>
      <dgm:t>
        <a:bodyPr/>
        <a:lstStyle/>
        <a:p>
          <a:endParaRPr lang="it-IT"/>
        </a:p>
      </dgm:t>
    </dgm:pt>
    <dgm:pt modelId="{57825DAB-89B3-4FA7-A8A1-027EA2A9F68D}">
      <dgm:prSet phldrT="[Testo]" custT="1"/>
      <dgm:spPr>
        <a:solidFill>
          <a:schemeClr val="accent6"/>
        </a:solidFill>
        <a:effectLst>
          <a:innerShdw blurRad="63500" dist="50800" dir="135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it-IT" sz="1400" dirty="0"/>
            <a:t>COABITAZIONE SOCIALE</a:t>
          </a:r>
        </a:p>
      </dgm:t>
    </dgm:pt>
    <dgm:pt modelId="{FAF31983-0191-41C2-AD55-7F2EF3DFDB02}" type="parTrans" cxnId="{71CBD281-05FA-4FBF-8DB6-91DAA674153D}">
      <dgm:prSet/>
      <dgm:spPr/>
      <dgm:t>
        <a:bodyPr/>
        <a:lstStyle/>
        <a:p>
          <a:endParaRPr lang="it-IT"/>
        </a:p>
      </dgm:t>
    </dgm:pt>
    <dgm:pt modelId="{64FBCA7E-AE5C-4169-B210-02698C41DCB8}" type="sibTrans" cxnId="{71CBD281-05FA-4FBF-8DB6-91DAA674153D}">
      <dgm:prSet/>
      <dgm:spPr/>
      <dgm:t>
        <a:bodyPr/>
        <a:lstStyle/>
        <a:p>
          <a:endParaRPr lang="it-IT"/>
        </a:p>
      </dgm:t>
    </dgm:pt>
    <dgm:pt modelId="{7E2A5C47-4C67-49A3-B9B8-D6F0D7061D5F}">
      <dgm:prSet phldrT="[Testo]" custT="1"/>
      <dgm:spPr>
        <a:solidFill>
          <a:srgbClr val="00B0F0"/>
        </a:solidFill>
        <a:effectLst>
          <a:innerShdw blurRad="63500" dist="50800" dir="135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it-IT" sz="1600" dirty="0"/>
            <a:t>NUOVA AGENZIA SOCIALE PER LA CASA</a:t>
          </a:r>
        </a:p>
      </dgm:t>
    </dgm:pt>
    <dgm:pt modelId="{DCF6940D-EE37-4B85-841A-9157EC609A12}" type="parTrans" cxnId="{A6317D2E-82CA-4041-A73B-6703E7763CA6}">
      <dgm:prSet/>
      <dgm:spPr/>
      <dgm:t>
        <a:bodyPr/>
        <a:lstStyle/>
        <a:p>
          <a:endParaRPr lang="it-IT"/>
        </a:p>
      </dgm:t>
    </dgm:pt>
    <dgm:pt modelId="{6094D012-4C3A-4F56-8C0A-4285A564D6AE}" type="sibTrans" cxnId="{A6317D2E-82CA-4041-A73B-6703E7763CA6}">
      <dgm:prSet/>
      <dgm:spPr/>
      <dgm:t>
        <a:bodyPr/>
        <a:lstStyle/>
        <a:p>
          <a:endParaRPr lang="it-IT"/>
        </a:p>
      </dgm:t>
    </dgm:pt>
    <dgm:pt modelId="{032694A8-D53D-4E4D-977E-EDBDA10923BA}">
      <dgm:prSet phldrT="[Testo]" custT="1"/>
      <dgm:spPr>
        <a:solidFill>
          <a:srgbClr val="FAB0CA"/>
        </a:solidFill>
        <a:effectLst>
          <a:innerShdw blurRad="63500" dist="50800" dir="135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it-IT" sz="1200" dirty="0"/>
            <a:t>SPORTELLI:</a:t>
          </a:r>
        </a:p>
        <a:p>
          <a:r>
            <a:rPr lang="it-IT" sz="1200" dirty="0"/>
            <a:t> DISABILITA’ </a:t>
          </a:r>
        </a:p>
        <a:p>
          <a:r>
            <a:rPr lang="it-IT" sz="1200" dirty="0"/>
            <a:t>ANTIVIOLENZA  </a:t>
          </a:r>
        </a:p>
        <a:p>
          <a:r>
            <a:rPr lang="it-IT" sz="1200" dirty="0"/>
            <a:t>LAVORO - FORMAZIONE             LIBERI PROFESSIONISTI</a:t>
          </a:r>
        </a:p>
      </dgm:t>
    </dgm:pt>
    <dgm:pt modelId="{6A9D4CA1-4F4D-41DC-A264-32825971B4EA}" type="parTrans" cxnId="{9B14E8EA-F615-4B85-BBBD-E9AF1C36D961}">
      <dgm:prSet/>
      <dgm:spPr/>
      <dgm:t>
        <a:bodyPr/>
        <a:lstStyle/>
        <a:p>
          <a:endParaRPr lang="it-IT"/>
        </a:p>
      </dgm:t>
    </dgm:pt>
    <dgm:pt modelId="{B7CAC296-2609-4802-91FA-A18584CF9A9A}" type="sibTrans" cxnId="{9B14E8EA-F615-4B85-BBBD-E9AF1C36D961}">
      <dgm:prSet/>
      <dgm:spPr/>
      <dgm:t>
        <a:bodyPr/>
        <a:lstStyle/>
        <a:p>
          <a:endParaRPr lang="it-IT"/>
        </a:p>
      </dgm:t>
    </dgm:pt>
    <dgm:pt modelId="{C170EE5E-E6DB-4313-ADFC-FA503762768F}" type="pres">
      <dgm:prSet presAssocID="{9A4FB45E-A5D9-4D1C-BE9B-BB04E506A6D2}" presName="cycle" presStyleCnt="0">
        <dgm:presLayoutVars>
          <dgm:dir/>
          <dgm:resizeHandles val="exact"/>
        </dgm:presLayoutVars>
      </dgm:prSet>
      <dgm:spPr/>
    </dgm:pt>
    <dgm:pt modelId="{9065DCD1-8E3F-44C8-9950-9867817052D6}" type="pres">
      <dgm:prSet presAssocID="{3B02E3CE-3111-4879-B86B-094314A71A02}" presName="node" presStyleLbl="node1" presStyleIdx="0" presStyleCnt="6" custScaleX="110000">
        <dgm:presLayoutVars>
          <dgm:bulletEnabled val="1"/>
        </dgm:presLayoutVars>
      </dgm:prSet>
      <dgm:spPr/>
    </dgm:pt>
    <dgm:pt modelId="{47ADC54E-0D12-41AB-BE07-4930E216A0E2}" type="pres">
      <dgm:prSet presAssocID="{3B02E3CE-3111-4879-B86B-094314A71A02}" presName="spNode" presStyleCnt="0"/>
      <dgm:spPr/>
    </dgm:pt>
    <dgm:pt modelId="{7D59FE9B-3D95-4F33-A068-6B7FC8F83F9D}" type="pres">
      <dgm:prSet presAssocID="{FB84660B-1CDF-4502-827A-EBBEBBCA8F6D}" presName="sibTrans" presStyleLbl="sibTrans1D1" presStyleIdx="0" presStyleCnt="6"/>
      <dgm:spPr/>
    </dgm:pt>
    <dgm:pt modelId="{9150086B-4583-4ECB-95AD-B3311ED28E0E}" type="pres">
      <dgm:prSet presAssocID="{76595328-2921-4FA1-A985-E9E026A624C9}" presName="node" presStyleLbl="node1" presStyleIdx="1" presStyleCnt="6" custScaleX="151139">
        <dgm:presLayoutVars>
          <dgm:bulletEnabled val="1"/>
        </dgm:presLayoutVars>
      </dgm:prSet>
      <dgm:spPr/>
    </dgm:pt>
    <dgm:pt modelId="{B10A65C1-69E0-4376-B1F9-BCD48F03F773}" type="pres">
      <dgm:prSet presAssocID="{76595328-2921-4FA1-A985-E9E026A624C9}" presName="spNode" presStyleCnt="0"/>
      <dgm:spPr/>
    </dgm:pt>
    <dgm:pt modelId="{D2C56F8E-0CD4-4902-B30E-4D2CC982C4FB}" type="pres">
      <dgm:prSet presAssocID="{4CC1FDF3-EE9B-4ED4-8679-E1216C1ACD9C}" presName="sibTrans" presStyleLbl="sibTrans1D1" presStyleIdx="1" presStyleCnt="6"/>
      <dgm:spPr/>
    </dgm:pt>
    <dgm:pt modelId="{9D2B1DBF-9C20-4181-B27C-D93A62708AA0}" type="pres">
      <dgm:prSet presAssocID="{E1B111B8-0D0A-4DD3-B480-B6FEC8344A97}" presName="node" presStyleLbl="node1" presStyleIdx="2" presStyleCnt="6">
        <dgm:presLayoutVars>
          <dgm:bulletEnabled val="1"/>
        </dgm:presLayoutVars>
      </dgm:prSet>
      <dgm:spPr/>
    </dgm:pt>
    <dgm:pt modelId="{0D45578D-E37C-4E82-ADBA-3FDDAC453F40}" type="pres">
      <dgm:prSet presAssocID="{E1B111B8-0D0A-4DD3-B480-B6FEC8344A97}" presName="spNode" presStyleCnt="0"/>
      <dgm:spPr/>
    </dgm:pt>
    <dgm:pt modelId="{5E7A8D81-D73E-43D0-991E-D33DE8575219}" type="pres">
      <dgm:prSet presAssocID="{9CE98D33-A1B1-4C4B-8E71-A941DD71E218}" presName="sibTrans" presStyleLbl="sibTrans1D1" presStyleIdx="2" presStyleCnt="6"/>
      <dgm:spPr/>
    </dgm:pt>
    <dgm:pt modelId="{E93176C4-8414-48B2-A1B9-F40183E4BEB8}" type="pres">
      <dgm:prSet presAssocID="{57825DAB-89B3-4FA7-A8A1-027EA2A9F68D}" presName="node" presStyleLbl="node1" presStyleIdx="3" presStyleCnt="6" custRadScaleRad="94036" custRadScaleInc="-6777">
        <dgm:presLayoutVars>
          <dgm:bulletEnabled val="1"/>
        </dgm:presLayoutVars>
      </dgm:prSet>
      <dgm:spPr/>
    </dgm:pt>
    <dgm:pt modelId="{F2548D42-5173-4303-BBA9-5DC974EF4980}" type="pres">
      <dgm:prSet presAssocID="{57825DAB-89B3-4FA7-A8A1-027EA2A9F68D}" presName="spNode" presStyleCnt="0"/>
      <dgm:spPr/>
    </dgm:pt>
    <dgm:pt modelId="{2912583A-EEE2-464E-A037-30DB0EC83DE3}" type="pres">
      <dgm:prSet presAssocID="{64FBCA7E-AE5C-4169-B210-02698C41DCB8}" presName="sibTrans" presStyleLbl="sibTrans1D1" presStyleIdx="3" presStyleCnt="6"/>
      <dgm:spPr/>
    </dgm:pt>
    <dgm:pt modelId="{0FAC108C-5A3B-4418-8C04-0D3C7DAAD491}" type="pres">
      <dgm:prSet presAssocID="{7E2A5C47-4C67-49A3-B9B8-D6F0D7061D5F}" presName="node" presStyleLbl="node1" presStyleIdx="4" presStyleCnt="6">
        <dgm:presLayoutVars>
          <dgm:bulletEnabled val="1"/>
        </dgm:presLayoutVars>
      </dgm:prSet>
      <dgm:spPr/>
    </dgm:pt>
    <dgm:pt modelId="{754EC6AC-059F-43F3-A5D5-DC566860D90D}" type="pres">
      <dgm:prSet presAssocID="{7E2A5C47-4C67-49A3-B9B8-D6F0D7061D5F}" presName="spNode" presStyleCnt="0"/>
      <dgm:spPr/>
    </dgm:pt>
    <dgm:pt modelId="{A9610407-76AA-4D2D-9A3A-9E412D28D54A}" type="pres">
      <dgm:prSet presAssocID="{6094D012-4C3A-4F56-8C0A-4285A564D6AE}" presName="sibTrans" presStyleLbl="sibTrans1D1" presStyleIdx="4" presStyleCnt="6"/>
      <dgm:spPr/>
    </dgm:pt>
    <dgm:pt modelId="{5A9A8515-1AAF-4D78-9B1D-07168D49F591}" type="pres">
      <dgm:prSet presAssocID="{032694A8-D53D-4E4D-977E-EDBDA10923BA}" presName="node" presStyleLbl="node1" presStyleIdx="5" presStyleCnt="6" custScaleX="180426">
        <dgm:presLayoutVars>
          <dgm:bulletEnabled val="1"/>
        </dgm:presLayoutVars>
      </dgm:prSet>
      <dgm:spPr/>
    </dgm:pt>
    <dgm:pt modelId="{6B62BEFC-5B52-4006-BE0A-5D521EA2D157}" type="pres">
      <dgm:prSet presAssocID="{032694A8-D53D-4E4D-977E-EDBDA10923BA}" presName="spNode" presStyleCnt="0"/>
      <dgm:spPr/>
    </dgm:pt>
    <dgm:pt modelId="{C4C31832-C5F7-4BFA-BC4F-68563EC88B4B}" type="pres">
      <dgm:prSet presAssocID="{B7CAC296-2609-4802-91FA-A18584CF9A9A}" presName="sibTrans" presStyleLbl="sibTrans1D1" presStyleIdx="5" presStyleCnt="6"/>
      <dgm:spPr/>
    </dgm:pt>
  </dgm:ptLst>
  <dgm:cxnLst>
    <dgm:cxn modelId="{0B69E015-3272-4228-931F-1B2303D4F17F}" type="presOf" srcId="{B7CAC296-2609-4802-91FA-A18584CF9A9A}" destId="{C4C31832-C5F7-4BFA-BC4F-68563EC88B4B}" srcOrd="0" destOrd="0" presId="urn:microsoft.com/office/officeart/2005/8/layout/cycle6"/>
    <dgm:cxn modelId="{0B44E71D-0D98-4AF9-B097-9162C470C5BB}" srcId="{9A4FB45E-A5D9-4D1C-BE9B-BB04E506A6D2}" destId="{76595328-2921-4FA1-A985-E9E026A624C9}" srcOrd="1" destOrd="0" parTransId="{D8BFC382-90E2-485F-A5CA-B96F2BA62666}" sibTransId="{4CC1FDF3-EE9B-4ED4-8679-E1216C1ACD9C}"/>
    <dgm:cxn modelId="{A6317D2E-82CA-4041-A73B-6703E7763CA6}" srcId="{9A4FB45E-A5D9-4D1C-BE9B-BB04E506A6D2}" destId="{7E2A5C47-4C67-49A3-B9B8-D6F0D7061D5F}" srcOrd="4" destOrd="0" parTransId="{DCF6940D-EE37-4B85-841A-9157EC609A12}" sibTransId="{6094D012-4C3A-4F56-8C0A-4285A564D6AE}"/>
    <dgm:cxn modelId="{9091DC2E-1DE9-4311-9B47-6D6DE115B34D}" srcId="{9A4FB45E-A5D9-4D1C-BE9B-BB04E506A6D2}" destId="{E1B111B8-0D0A-4DD3-B480-B6FEC8344A97}" srcOrd="2" destOrd="0" parTransId="{03D9D771-63A4-4D0A-A8E8-58261E40A532}" sibTransId="{9CE98D33-A1B1-4C4B-8E71-A941DD71E218}"/>
    <dgm:cxn modelId="{4801D75B-E8A7-418C-822D-C00E3569FD86}" type="presOf" srcId="{FB84660B-1CDF-4502-827A-EBBEBBCA8F6D}" destId="{7D59FE9B-3D95-4F33-A068-6B7FC8F83F9D}" srcOrd="0" destOrd="0" presId="urn:microsoft.com/office/officeart/2005/8/layout/cycle6"/>
    <dgm:cxn modelId="{6D6BDF52-FEE3-4555-A415-2F983EB26819}" type="presOf" srcId="{3B02E3CE-3111-4879-B86B-094314A71A02}" destId="{9065DCD1-8E3F-44C8-9950-9867817052D6}" srcOrd="0" destOrd="0" presId="urn:microsoft.com/office/officeart/2005/8/layout/cycle6"/>
    <dgm:cxn modelId="{246B0B55-72EC-4167-AC2A-7090F5CAB2D2}" type="presOf" srcId="{4CC1FDF3-EE9B-4ED4-8679-E1216C1ACD9C}" destId="{D2C56F8E-0CD4-4902-B30E-4D2CC982C4FB}" srcOrd="0" destOrd="0" presId="urn:microsoft.com/office/officeart/2005/8/layout/cycle6"/>
    <dgm:cxn modelId="{3A95FE80-77F1-42CA-A5A6-A9C891251641}" type="presOf" srcId="{032694A8-D53D-4E4D-977E-EDBDA10923BA}" destId="{5A9A8515-1AAF-4D78-9B1D-07168D49F591}" srcOrd="0" destOrd="0" presId="urn:microsoft.com/office/officeart/2005/8/layout/cycle6"/>
    <dgm:cxn modelId="{71CBD281-05FA-4FBF-8DB6-91DAA674153D}" srcId="{9A4FB45E-A5D9-4D1C-BE9B-BB04E506A6D2}" destId="{57825DAB-89B3-4FA7-A8A1-027EA2A9F68D}" srcOrd="3" destOrd="0" parTransId="{FAF31983-0191-41C2-AD55-7F2EF3DFDB02}" sibTransId="{64FBCA7E-AE5C-4169-B210-02698C41DCB8}"/>
    <dgm:cxn modelId="{559EABAB-7C31-4D72-9074-FAF7D134319F}" type="presOf" srcId="{6094D012-4C3A-4F56-8C0A-4285A564D6AE}" destId="{A9610407-76AA-4D2D-9A3A-9E412D28D54A}" srcOrd="0" destOrd="0" presId="urn:microsoft.com/office/officeart/2005/8/layout/cycle6"/>
    <dgm:cxn modelId="{6B83C3B8-F10F-454E-86D5-E355799742D8}" type="presOf" srcId="{9CE98D33-A1B1-4C4B-8E71-A941DD71E218}" destId="{5E7A8D81-D73E-43D0-991E-D33DE8575219}" srcOrd="0" destOrd="0" presId="urn:microsoft.com/office/officeart/2005/8/layout/cycle6"/>
    <dgm:cxn modelId="{7986EBC6-8E9F-4186-88F4-9A1B97FD5E48}" type="presOf" srcId="{57825DAB-89B3-4FA7-A8A1-027EA2A9F68D}" destId="{E93176C4-8414-48B2-A1B9-F40183E4BEB8}" srcOrd="0" destOrd="0" presId="urn:microsoft.com/office/officeart/2005/8/layout/cycle6"/>
    <dgm:cxn modelId="{911DE9C7-9316-4427-BD83-2793DBBD1AC7}" type="presOf" srcId="{64FBCA7E-AE5C-4169-B210-02698C41DCB8}" destId="{2912583A-EEE2-464E-A037-30DB0EC83DE3}" srcOrd="0" destOrd="0" presId="urn:microsoft.com/office/officeart/2005/8/layout/cycle6"/>
    <dgm:cxn modelId="{E4C8C5CA-DA4D-4CD9-B5E8-06DE8753BF0A}" type="presOf" srcId="{E1B111B8-0D0A-4DD3-B480-B6FEC8344A97}" destId="{9D2B1DBF-9C20-4181-B27C-D93A62708AA0}" srcOrd="0" destOrd="0" presId="urn:microsoft.com/office/officeart/2005/8/layout/cycle6"/>
    <dgm:cxn modelId="{106A94CF-F37E-49DC-AD52-876536292C59}" type="presOf" srcId="{9A4FB45E-A5D9-4D1C-BE9B-BB04E506A6D2}" destId="{C170EE5E-E6DB-4313-ADFC-FA503762768F}" srcOrd="0" destOrd="0" presId="urn:microsoft.com/office/officeart/2005/8/layout/cycle6"/>
    <dgm:cxn modelId="{F9A396DD-6FF7-4507-9179-280FC465115D}" type="presOf" srcId="{76595328-2921-4FA1-A985-E9E026A624C9}" destId="{9150086B-4583-4ECB-95AD-B3311ED28E0E}" srcOrd="0" destOrd="0" presId="urn:microsoft.com/office/officeart/2005/8/layout/cycle6"/>
    <dgm:cxn modelId="{E38895DF-7DC4-47CC-99C4-EEF739498A5A}" srcId="{9A4FB45E-A5D9-4D1C-BE9B-BB04E506A6D2}" destId="{3B02E3CE-3111-4879-B86B-094314A71A02}" srcOrd="0" destOrd="0" parTransId="{A1966989-40B0-4909-8168-2FADE077A902}" sibTransId="{FB84660B-1CDF-4502-827A-EBBEBBCA8F6D}"/>
    <dgm:cxn modelId="{9B14E8EA-F615-4B85-BBBD-E9AF1C36D961}" srcId="{9A4FB45E-A5D9-4D1C-BE9B-BB04E506A6D2}" destId="{032694A8-D53D-4E4D-977E-EDBDA10923BA}" srcOrd="5" destOrd="0" parTransId="{6A9D4CA1-4F4D-41DC-A264-32825971B4EA}" sibTransId="{B7CAC296-2609-4802-91FA-A18584CF9A9A}"/>
    <dgm:cxn modelId="{2E655BF7-4304-40B4-A2AA-8B474078B555}" type="presOf" srcId="{7E2A5C47-4C67-49A3-B9B8-D6F0D7061D5F}" destId="{0FAC108C-5A3B-4418-8C04-0D3C7DAAD491}" srcOrd="0" destOrd="0" presId="urn:microsoft.com/office/officeart/2005/8/layout/cycle6"/>
    <dgm:cxn modelId="{C1C1001C-DC0A-42BA-931A-1485B09E9945}" type="presParOf" srcId="{C170EE5E-E6DB-4313-ADFC-FA503762768F}" destId="{9065DCD1-8E3F-44C8-9950-9867817052D6}" srcOrd="0" destOrd="0" presId="urn:microsoft.com/office/officeart/2005/8/layout/cycle6"/>
    <dgm:cxn modelId="{A8B634B1-08CC-47A6-8E79-D561E6C96AEE}" type="presParOf" srcId="{C170EE5E-E6DB-4313-ADFC-FA503762768F}" destId="{47ADC54E-0D12-41AB-BE07-4930E216A0E2}" srcOrd="1" destOrd="0" presId="urn:microsoft.com/office/officeart/2005/8/layout/cycle6"/>
    <dgm:cxn modelId="{A4439F27-657E-4662-99D6-4D0B1634171C}" type="presParOf" srcId="{C170EE5E-E6DB-4313-ADFC-FA503762768F}" destId="{7D59FE9B-3D95-4F33-A068-6B7FC8F83F9D}" srcOrd="2" destOrd="0" presId="urn:microsoft.com/office/officeart/2005/8/layout/cycle6"/>
    <dgm:cxn modelId="{81194A09-EF94-486D-A51F-FAB52D2F5583}" type="presParOf" srcId="{C170EE5E-E6DB-4313-ADFC-FA503762768F}" destId="{9150086B-4583-4ECB-95AD-B3311ED28E0E}" srcOrd="3" destOrd="0" presId="urn:microsoft.com/office/officeart/2005/8/layout/cycle6"/>
    <dgm:cxn modelId="{E7323FF9-CE95-48E0-9163-B351CC3EE3FA}" type="presParOf" srcId="{C170EE5E-E6DB-4313-ADFC-FA503762768F}" destId="{B10A65C1-69E0-4376-B1F9-BCD48F03F773}" srcOrd="4" destOrd="0" presId="urn:microsoft.com/office/officeart/2005/8/layout/cycle6"/>
    <dgm:cxn modelId="{5FD4D3D2-B9EF-43D9-A912-ADB984125D9B}" type="presParOf" srcId="{C170EE5E-E6DB-4313-ADFC-FA503762768F}" destId="{D2C56F8E-0CD4-4902-B30E-4D2CC982C4FB}" srcOrd="5" destOrd="0" presId="urn:microsoft.com/office/officeart/2005/8/layout/cycle6"/>
    <dgm:cxn modelId="{6E78F66B-B765-4C67-8CF0-F24ED4AD4C7B}" type="presParOf" srcId="{C170EE5E-E6DB-4313-ADFC-FA503762768F}" destId="{9D2B1DBF-9C20-4181-B27C-D93A62708AA0}" srcOrd="6" destOrd="0" presId="urn:microsoft.com/office/officeart/2005/8/layout/cycle6"/>
    <dgm:cxn modelId="{00B74F97-2CF5-4C0D-B30B-0CD85EE2110D}" type="presParOf" srcId="{C170EE5E-E6DB-4313-ADFC-FA503762768F}" destId="{0D45578D-E37C-4E82-ADBA-3FDDAC453F40}" srcOrd="7" destOrd="0" presId="urn:microsoft.com/office/officeart/2005/8/layout/cycle6"/>
    <dgm:cxn modelId="{64C5625E-FBF2-4DF7-9F70-B7674CC8D984}" type="presParOf" srcId="{C170EE5E-E6DB-4313-ADFC-FA503762768F}" destId="{5E7A8D81-D73E-43D0-991E-D33DE8575219}" srcOrd="8" destOrd="0" presId="urn:microsoft.com/office/officeart/2005/8/layout/cycle6"/>
    <dgm:cxn modelId="{F7D37548-AB45-4562-A004-2E34F899E12F}" type="presParOf" srcId="{C170EE5E-E6DB-4313-ADFC-FA503762768F}" destId="{E93176C4-8414-48B2-A1B9-F40183E4BEB8}" srcOrd="9" destOrd="0" presId="urn:microsoft.com/office/officeart/2005/8/layout/cycle6"/>
    <dgm:cxn modelId="{945A0526-3AE0-49DA-B6AB-12D0C3A360F9}" type="presParOf" srcId="{C170EE5E-E6DB-4313-ADFC-FA503762768F}" destId="{F2548D42-5173-4303-BBA9-5DC974EF4980}" srcOrd="10" destOrd="0" presId="urn:microsoft.com/office/officeart/2005/8/layout/cycle6"/>
    <dgm:cxn modelId="{81AF79A0-01B7-4FE1-ABE5-8C47C2A97FB5}" type="presParOf" srcId="{C170EE5E-E6DB-4313-ADFC-FA503762768F}" destId="{2912583A-EEE2-464E-A037-30DB0EC83DE3}" srcOrd="11" destOrd="0" presId="urn:microsoft.com/office/officeart/2005/8/layout/cycle6"/>
    <dgm:cxn modelId="{2B164133-B5C1-4B08-A7A2-FB260FEC0132}" type="presParOf" srcId="{C170EE5E-E6DB-4313-ADFC-FA503762768F}" destId="{0FAC108C-5A3B-4418-8C04-0D3C7DAAD491}" srcOrd="12" destOrd="0" presId="urn:microsoft.com/office/officeart/2005/8/layout/cycle6"/>
    <dgm:cxn modelId="{A4DC8F87-3F15-4661-97B7-C8DD70C50230}" type="presParOf" srcId="{C170EE5E-E6DB-4313-ADFC-FA503762768F}" destId="{754EC6AC-059F-43F3-A5D5-DC566860D90D}" srcOrd="13" destOrd="0" presId="urn:microsoft.com/office/officeart/2005/8/layout/cycle6"/>
    <dgm:cxn modelId="{127690D1-0DAE-4168-9A92-9586D842F651}" type="presParOf" srcId="{C170EE5E-E6DB-4313-ADFC-FA503762768F}" destId="{A9610407-76AA-4D2D-9A3A-9E412D28D54A}" srcOrd="14" destOrd="0" presId="urn:microsoft.com/office/officeart/2005/8/layout/cycle6"/>
    <dgm:cxn modelId="{ECA6422F-5F6C-4DF5-AC96-8DB1C0E4831F}" type="presParOf" srcId="{C170EE5E-E6DB-4313-ADFC-FA503762768F}" destId="{5A9A8515-1AAF-4D78-9B1D-07168D49F591}" srcOrd="15" destOrd="0" presId="urn:microsoft.com/office/officeart/2005/8/layout/cycle6"/>
    <dgm:cxn modelId="{3810AF77-E8EF-444F-9515-90F5C69D6069}" type="presParOf" srcId="{C170EE5E-E6DB-4313-ADFC-FA503762768F}" destId="{6B62BEFC-5B52-4006-BE0A-5D521EA2D157}" srcOrd="16" destOrd="0" presId="urn:microsoft.com/office/officeart/2005/8/layout/cycle6"/>
    <dgm:cxn modelId="{3C6E0A6C-749A-4934-AD86-E075389909F4}" type="presParOf" srcId="{C170EE5E-E6DB-4313-ADFC-FA503762768F}" destId="{C4C31832-C5F7-4BFA-BC4F-68563EC88B4B}" srcOrd="17" destOrd="0" presId="urn:microsoft.com/office/officeart/2005/8/layout/cycle6"/>
  </dgm:cxnLst>
  <dgm:bg>
    <a:effectLst>
      <a:glow rad="101600">
        <a:schemeClr val="accent2">
          <a:satMod val="175000"/>
          <a:alpha val="40000"/>
        </a:schemeClr>
      </a:glow>
    </a:effectLst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49E8F74-79B8-4FD0-B88F-35FB0441C9EF}" type="doc">
      <dgm:prSet loTypeId="urn:microsoft.com/office/officeart/2008/layout/AlternatingHexagons" loCatId="list" qsTypeId="urn:microsoft.com/office/officeart/2005/8/quickstyle/3d2" qsCatId="3D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535B7E86-F3A2-4C81-BFB2-5BFC37E51606}">
      <dgm:prSet phldrT="[Testo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it-IT" dirty="0"/>
            <a:t>INTERREG EUROPE</a:t>
          </a:r>
        </a:p>
      </dgm:t>
    </dgm:pt>
    <dgm:pt modelId="{7146504A-9078-4E73-97D5-04EE75261496}" type="parTrans" cxnId="{C91EF5FE-4DDB-4224-9201-8D83FC580DEC}">
      <dgm:prSet/>
      <dgm:spPr/>
      <dgm:t>
        <a:bodyPr/>
        <a:lstStyle/>
        <a:p>
          <a:endParaRPr lang="it-IT"/>
        </a:p>
      </dgm:t>
    </dgm:pt>
    <dgm:pt modelId="{35C55F06-453C-47F1-9481-0F7B7B054EB6}" type="sibTrans" cxnId="{C91EF5FE-4DDB-4224-9201-8D83FC580DEC}">
      <dgm:prSet/>
      <dgm:spPr>
        <a:solidFill>
          <a:srgbClr val="7030A0"/>
        </a:solidFill>
      </dgm:spPr>
      <dgm:t>
        <a:bodyPr/>
        <a:lstStyle/>
        <a:p>
          <a:endParaRPr lang="it-IT"/>
        </a:p>
      </dgm:t>
    </dgm:pt>
    <dgm:pt modelId="{B2F24826-6645-41F1-A67B-28CBC5E58E6D}">
      <dgm:prSet phldrT="[Testo]" custT="1"/>
      <dgm:spPr/>
      <dgm:t>
        <a:bodyPr/>
        <a:lstStyle/>
        <a:p>
          <a:pPr algn="just"/>
          <a:r>
            <a:rPr lang="it-IT" sz="1200" b="0" i="0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Presentazione idea progettuale</a:t>
          </a:r>
          <a:r>
            <a:rPr lang="it-IT" sz="1200" b="1" i="1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 Programmazione 2021-2027</a:t>
          </a:r>
          <a:r>
            <a:rPr lang="it-IT" sz="1200" b="0" i="1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” all’interno </a:t>
          </a:r>
          <a:r>
            <a:rPr lang="it-IT" sz="1200" b="1" i="1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del FEEL “</a:t>
          </a:r>
          <a:r>
            <a:rPr lang="it-IT" sz="1200" b="1" i="1" kern="1200" dirty="0" err="1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Frugal</a:t>
          </a:r>
          <a:r>
            <a:rPr lang="it-IT" sz="1200" b="1" i="1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 cities </a:t>
          </a:r>
          <a:r>
            <a:rPr lang="it-IT" sz="1200" b="1" i="1" kern="1200" dirty="0" err="1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through</a:t>
          </a:r>
          <a:r>
            <a:rPr lang="it-IT" sz="1200" b="1" i="1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 Energy </a:t>
          </a:r>
          <a:r>
            <a:rPr lang="it-IT" sz="1200" b="1" i="1" kern="1200" dirty="0" err="1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Efficiency</a:t>
          </a:r>
          <a:r>
            <a:rPr lang="it-IT" sz="1200" b="1" i="1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 and Low-tech communities Interreg Europe”</a:t>
          </a:r>
        </a:p>
      </dgm:t>
    </dgm:pt>
    <dgm:pt modelId="{C935EADA-79C4-480C-AB23-49FA3ED9164E}" type="parTrans" cxnId="{6E584E8D-00E7-46EA-A158-0895D9B99A54}">
      <dgm:prSet/>
      <dgm:spPr/>
      <dgm:t>
        <a:bodyPr/>
        <a:lstStyle/>
        <a:p>
          <a:endParaRPr lang="it-IT"/>
        </a:p>
      </dgm:t>
    </dgm:pt>
    <dgm:pt modelId="{C5F8B7AA-3BC5-4E78-A3A4-11F4EE08EA1A}" type="sibTrans" cxnId="{6E584E8D-00E7-46EA-A158-0895D9B99A54}">
      <dgm:prSet/>
      <dgm:spPr/>
      <dgm:t>
        <a:bodyPr/>
        <a:lstStyle/>
        <a:p>
          <a:endParaRPr lang="it-IT"/>
        </a:p>
      </dgm:t>
    </dgm:pt>
    <dgm:pt modelId="{1532E0BC-8D4C-4E0E-9540-FD8A2764A24A}">
      <dgm:prSet phldrT="[Testo]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it-IT" dirty="0"/>
            <a:t>REGIONE LIGURIA</a:t>
          </a:r>
        </a:p>
      </dgm:t>
    </dgm:pt>
    <dgm:pt modelId="{EC4B667E-8D57-4423-A7D3-B0B46BCCC78C}" type="parTrans" cxnId="{24B4DD61-0DD1-49DC-BF64-3943BC8F2800}">
      <dgm:prSet/>
      <dgm:spPr/>
      <dgm:t>
        <a:bodyPr/>
        <a:lstStyle/>
        <a:p>
          <a:endParaRPr lang="it-IT"/>
        </a:p>
      </dgm:t>
    </dgm:pt>
    <dgm:pt modelId="{7D727423-FCD0-47E8-A677-78DB79E881F1}" type="sibTrans" cxnId="{24B4DD61-0DD1-49DC-BF64-3943BC8F2800}">
      <dgm:prSet/>
      <dgm:spPr>
        <a:solidFill>
          <a:srgbClr val="92D050"/>
        </a:solidFill>
      </dgm:spPr>
      <dgm:t>
        <a:bodyPr/>
        <a:lstStyle/>
        <a:p>
          <a:endParaRPr lang="it-IT"/>
        </a:p>
      </dgm:t>
    </dgm:pt>
    <dgm:pt modelId="{36A2A7BD-D49C-4260-AA86-C0EE4F24E260}">
      <dgm:prSet phldrT="[Testo]" custT="1"/>
      <dgm:spPr/>
      <dgm:t>
        <a:bodyPr/>
        <a:lstStyle/>
        <a:p>
          <a:pPr algn="just"/>
          <a:r>
            <a:rPr lang="it-IT" sz="1100" b="1" i="1" kern="1200" dirty="0">
              <a:solidFill>
                <a:schemeClr val="tx2"/>
              </a:solidFill>
              <a:effectLst/>
              <a:latin typeface="+mj-lt"/>
              <a:ea typeface="Times New Roman" panose="02020603050405020304" pitchFamily="18" charset="0"/>
              <a:cs typeface="+mn-cs"/>
            </a:rPr>
            <a:t>la Delibera di Giunta n° 485-2022 </a:t>
          </a:r>
          <a:r>
            <a:rPr lang="it-IT" sz="1100" b="0" i="1" kern="1200" dirty="0">
              <a:solidFill>
                <a:schemeClr val="tx2"/>
              </a:solidFill>
              <a:effectLst/>
              <a:latin typeface="+mj-lt"/>
              <a:ea typeface="Times New Roman" panose="02020603050405020304" pitchFamily="18" charset="0"/>
              <a:cs typeface="+mn-cs"/>
            </a:rPr>
            <a:t>localizza</a:t>
          </a:r>
          <a:r>
            <a:rPr lang="it-IT" sz="1100" i="1" kern="1200" dirty="0">
              <a:solidFill>
                <a:schemeClr val="tx2"/>
              </a:solidFill>
              <a:effectLst/>
              <a:latin typeface="+mj-lt"/>
              <a:ea typeface="Times New Roman" panose="02020603050405020304" pitchFamily="18" charset="0"/>
              <a:cs typeface="+mn-cs"/>
            </a:rPr>
            <a:t> risorse di edilizia sovvenzionata a favore di </a:t>
          </a:r>
          <a:r>
            <a:rPr lang="it-IT" sz="1100" b="1" i="1" kern="1200" dirty="0">
              <a:solidFill>
                <a:schemeClr val="tx2"/>
              </a:solidFill>
              <a:effectLst/>
              <a:latin typeface="+mj-lt"/>
              <a:ea typeface="Times New Roman" panose="02020603050405020304" pitchFamily="18" charset="0"/>
              <a:cs typeface="+mn-cs"/>
            </a:rPr>
            <a:t>ARTE di Imperia </a:t>
          </a:r>
          <a:r>
            <a:rPr lang="it-IT" sz="1100" i="1" kern="1200" dirty="0">
              <a:solidFill>
                <a:schemeClr val="tx2"/>
              </a:solidFill>
              <a:effectLst/>
              <a:latin typeface="+mj-lt"/>
              <a:ea typeface="Times New Roman" panose="02020603050405020304" pitchFamily="18" charset="0"/>
              <a:cs typeface="+mn-cs"/>
            </a:rPr>
            <a:t>per l’acquisto di immobili da destinare alla coabitazione sociale </a:t>
          </a:r>
          <a:r>
            <a:rPr lang="it-IT" sz="1100" b="1" i="1" kern="1200" dirty="0">
              <a:solidFill>
                <a:schemeClr val="tx2"/>
              </a:solidFill>
              <a:effectLst/>
              <a:latin typeface="+mj-lt"/>
              <a:ea typeface="Times New Roman" panose="02020603050405020304" pitchFamily="18" charset="0"/>
              <a:cs typeface="+mn-cs"/>
            </a:rPr>
            <a:t>e la realizzazione di un Centro Servizi all’Utenza </a:t>
          </a:r>
          <a:r>
            <a:rPr lang="it-IT" sz="1400" b="1" i="1" kern="1200" dirty="0">
              <a:solidFill>
                <a:schemeClr val="tx2"/>
              </a:solidFill>
              <a:effectLst/>
              <a:latin typeface="+mj-lt"/>
              <a:ea typeface="Times New Roman" panose="02020603050405020304" pitchFamily="18" charset="0"/>
              <a:cs typeface="+mn-cs"/>
            </a:rPr>
            <a:t>per 1 milione di EURO</a:t>
          </a:r>
          <a:r>
            <a:rPr lang="it-IT" sz="1400" b="1" i="1" u="none" kern="1200" dirty="0"/>
            <a:t> </a:t>
          </a:r>
          <a:endParaRPr lang="it-IT" sz="1400" b="1" kern="1200" dirty="0"/>
        </a:p>
      </dgm:t>
    </dgm:pt>
    <dgm:pt modelId="{6609BDA4-E64C-4E19-BAED-44963D2870F5}" type="parTrans" cxnId="{B34593CD-EB0C-40E5-B081-73737F8D6570}">
      <dgm:prSet/>
      <dgm:spPr/>
      <dgm:t>
        <a:bodyPr/>
        <a:lstStyle/>
        <a:p>
          <a:endParaRPr lang="it-IT"/>
        </a:p>
      </dgm:t>
    </dgm:pt>
    <dgm:pt modelId="{7CA84809-DCE8-4540-A51E-25BF78C1500F}" type="sibTrans" cxnId="{B34593CD-EB0C-40E5-B081-73737F8D6570}">
      <dgm:prSet/>
      <dgm:spPr/>
      <dgm:t>
        <a:bodyPr/>
        <a:lstStyle/>
        <a:p>
          <a:endParaRPr lang="it-IT"/>
        </a:p>
      </dgm:t>
    </dgm:pt>
    <dgm:pt modelId="{63996996-057D-413A-A72E-B229B33F12B3}">
      <dgm:prSet phldrT="[Testo]"/>
      <dgm:spPr>
        <a:solidFill>
          <a:srgbClr val="FFFF00"/>
        </a:solidFill>
      </dgm:spPr>
      <dgm:t>
        <a:bodyPr/>
        <a:lstStyle/>
        <a:p>
          <a:r>
            <a:rPr lang="it-IT" dirty="0">
              <a:solidFill>
                <a:schemeClr val="tx1"/>
              </a:solidFill>
            </a:rPr>
            <a:t>AL.CO.TRA</a:t>
          </a:r>
        </a:p>
      </dgm:t>
    </dgm:pt>
    <dgm:pt modelId="{0D4F239F-FD20-45A1-981D-394983DF4FA0}" type="parTrans" cxnId="{7844B659-77EA-4A8B-8827-23E7042ABA2B}">
      <dgm:prSet/>
      <dgm:spPr/>
      <dgm:t>
        <a:bodyPr/>
        <a:lstStyle/>
        <a:p>
          <a:endParaRPr lang="it-IT"/>
        </a:p>
      </dgm:t>
    </dgm:pt>
    <dgm:pt modelId="{DA8CDA47-6CEC-40A9-B183-1F9D6B225CC4}" type="sibTrans" cxnId="{7844B659-77EA-4A8B-8827-23E7042ABA2B}">
      <dgm:prSet/>
      <dgm:spPr/>
      <dgm:t>
        <a:bodyPr/>
        <a:lstStyle/>
        <a:p>
          <a:endParaRPr lang="it-IT"/>
        </a:p>
      </dgm:t>
    </dgm:pt>
    <dgm:pt modelId="{8F5F8341-CEC2-4428-A38E-01CC4EB4A68A}">
      <dgm:prSet phldrT="[Testo]" custT="1"/>
      <dgm:spPr/>
      <dgm:t>
        <a:bodyPr/>
        <a:lstStyle/>
        <a:p>
          <a:r>
            <a:rPr lang="it-IT" sz="1100" b="1" i="0" u="none" kern="1200" dirty="0"/>
            <a:t>“</a:t>
          </a:r>
          <a:r>
            <a:rPr lang="it-IT" sz="1100" b="1" i="1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Alpi Latine </a:t>
          </a:r>
          <a:r>
            <a:rPr lang="it-IT" sz="1100" b="1" i="1" kern="1200" dirty="0" err="1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COoperazione</a:t>
          </a:r>
          <a:r>
            <a:rPr lang="it-IT" sz="1100" b="1" i="1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 </a:t>
          </a:r>
          <a:r>
            <a:rPr lang="it-IT" sz="1100" b="1" i="1" kern="1200" dirty="0" err="1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TRAnsfrontaliera</a:t>
          </a:r>
          <a:r>
            <a:rPr lang="it-IT" sz="1100" i="1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” -Programma di cooperazione transfrontaliera che interessa le frontiere terrestri (lungo l’arco alpino) tra Italia e Francia e coinvolge solo le regioni italiane di Piemonte, Liguria e Valle d’Aosta </a:t>
          </a:r>
          <a:r>
            <a:rPr lang="it-IT" sz="1100" b="1" i="1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- Asse IV “Inclusione sociale e cittadinanza europea</a:t>
          </a:r>
        </a:p>
      </dgm:t>
    </dgm:pt>
    <dgm:pt modelId="{18CD8523-63BB-4786-A618-18F0DB20CCD4}" type="parTrans" cxnId="{2C38A808-DF7F-4C20-A072-7F77F7B72A8E}">
      <dgm:prSet/>
      <dgm:spPr/>
      <dgm:t>
        <a:bodyPr/>
        <a:lstStyle/>
        <a:p>
          <a:endParaRPr lang="it-IT"/>
        </a:p>
      </dgm:t>
    </dgm:pt>
    <dgm:pt modelId="{393235FB-D1A0-4394-839C-79E0F4201C56}" type="sibTrans" cxnId="{2C38A808-DF7F-4C20-A072-7F77F7B72A8E}">
      <dgm:prSet/>
      <dgm:spPr/>
      <dgm:t>
        <a:bodyPr/>
        <a:lstStyle/>
        <a:p>
          <a:endParaRPr lang="it-IT"/>
        </a:p>
      </dgm:t>
    </dgm:pt>
    <dgm:pt modelId="{3F72EC4F-07EA-44BB-84F9-19409B504AF2}">
      <dgm:prSet custT="1"/>
      <dgm:spPr/>
      <dgm:t>
        <a:bodyPr/>
        <a:lstStyle/>
        <a:p>
          <a:pPr algn="l"/>
          <a:endParaRPr lang="it-IT" sz="1100" kern="1200" dirty="0"/>
        </a:p>
      </dgm:t>
    </dgm:pt>
    <dgm:pt modelId="{1520844A-A342-4986-9E7C-3921A9E035F0}" type="parTrans" cxnId="{E2EA7470-B370-444F-88E5-58C541452F8B}">
      <dgm:prSet/>
      <dgm:spPr/>
      <dgm:t>
        <a:bodyPr/>
        <a:lstStyle/>
        <a:p>
          <a:endParaRPr lang="it-IT"/>
        </a:p>
      </dgm:t>
    </dgm:pt>
    <dgm:pt modelId="{28587E01-5DE6-443A-BD7A-78FC2B9B0549}" type="sibTrans" cxnId="{E2EA7470-B370-444F-88E5-58C541452F8B}">
      <dgm:prSet/>
      <dgm:spPr/>
      <dgm:t>
        <a:bodyPr/>
        <a:lstStyle/>
        <a:p>
          <a:endParaRPr lang="it-IT"/>
        </a:p>
      </dgm:t>
    </dgm:pt>
    <dgm:pt modelId="{3F23EAE9-640D-42E2-8ADB-C44ED904E705}" type="pres">
      <dgm:prSet presAssocID="{149E8F74-79B8-4FD0-B88F-35FB0441C9EF}" presName="Name0" presStyleCnt="0">
        <dgm:presLayoutVars>
          <dgm:chMax/>
          <dgm:chPref/>
          <dgm:dir/>
          <dgm:animLvl val="lvl"/>
        </dgm:presLayoutVars>
      </dgm:prSet>
      <dgm:spPr/>
    </dgm:pt>
    <dgm:pt modelId="{940AB0B1-3D5A-4BB8-AF7D-2818CEEAB5F1}" type="pres">
      <dgm:prSet presAssocID="{535B7E86-F3A2-4C81-BFB2-5BFC37E51606}" presName="composite" presStyleCnt="0"/>
      <dgm:spPr/>
    </dgm:pt>
    <dgm:pt modelId="{7080C169-28B6-4830-8D18-03F89AE0C976}" type="pres">
      <dgm:prSet presAssocID="{535B7E86-F3A2-4C81-BFB2-5BFC37E51606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</dgm:pt>
    <dgm:pt modelId="{FF13E2EC-99C2-4DF0-9A80-BF3D3CBD6BF0}" type="pres">
      <dgm:prSet presAssocID="{535B7E86-F3A2-4C81-BFB2-5BFC37E51606}" presName="Childtext1" presStyleLbl="revTx" presStyleIdx="0" presStyleCnt="3" custScaleY="127900">
        <dgm:presLayoutVars>
          <dgm:chMax val="0"/>
          <dgm:chPref val="0"/>
          <dgm:bulletEnabled val="1"/>
        </dgm:presLayoutVars>
      </dgm:prSet>
      <dgm:spPr/>
    </dgm:pt>
    <dgm:pt modelId="{416C411E-5AA2-43BE-9730-A61B8ED55BB6}" type="pres">
      <dgm:prSet presAssocID="{535B7E86-F3A2-4C81-BFB2-5BFC37E51606}" presName="BalanceSpacing" presStyleCnt="0"/>
      <dgm:spPr/>
    </dgm:pt>
    <dgm:pt modelId="{25D2AABF-D74D-40AC-BE4F-1502DA0D3EFD}" type="pres">
      <dgm:prSet presAssocID="{535B7E86-F3A2-4C81-BFB2-5BFC37E51606}" presName="BalanceSpacing1" presStyleCnt="0"/>
      <dgm:spPr/>
    </dgm:pt>
    <dgm:pt modelId="{E76B8055-C58C-49A5-9FBE-9FC9E2E94E90}" type="pres">
      <dgm:prSet presAssocID="{35C55F06-453C-47F1-9481-0F7B7B054EB6}" presName="Accent1Text" presStyleLbl="node1" presStyleIdx="1" presStyleCnt="6"/>
      <dgm:spPr/>
    </dgm:pt>
    <dgm:pt modelId="{E92298C6-FD73-4241-B439-75B82A69C834}" type="pres">
      <dgm:prSet presAssocID="{35C55F06-453C-47F1-9481-0F7B7B054EB6}" presName="spaceBetweenRectangles" presStyleCnt="0"/>
      <dgm:spPr/>
    </dgm:pt>
    <dgm:pt modelId="{C45C9860-4475-460D-A0F5-4401D307C4FD}" type="pres">
      <dgm:prSet presAssocID="{1532E0BC-8D4C-4E0E-9540-FD8A2764A24A}" presName="composite" presStyleCnt="0"/>
      <dgm:spPr/>
    </dgm:pt>
    <dgm:pt modelId="{6B877135-6B64-4BB3-B517-C7690BD590AB}" type="pres">
      <dgm:prSet presAssocID="{1532E0BC-8D4C-4E0E-9540-FD8A2764A24A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</dgm:pt>
    <dgm:pt modelId="{4527F90A-A6AA-4C93-952E-B102A45B0B7A}" type="pres">
      <dgm:prSet presAssocID="{1532E0BC-8D4C-4E0E-9540-FD8A2764A24A}" presName="Childtext1" presStyleLbl="revTx" presStyleIdx="1" presStyleCnt="3" custScaleX="99821" custScaleY="138094">
        <dgm:presLayoutVars>
          <dgm:chMax val="0"/>
          <dgm:chPref val="0"/>
          <dgm:bulletEnabled val="1"/>
        </dgm:presLayoutVars>
      </dgm:prSet>
      <dgm:spPr/>
    </dgm:pt>
    <dgm:pt modelId="{26855BDB-3978-49B1-804C-761800424C7F}" type="pres">
      <dgm:prSet presAssocID="{1532E0BC-8D4C-4E0E-9540-FD8A2764A24A}" presName="BalanceSpacing" presStyleCnt="0"/>
      <dgm:spPr/>
    </dgm:pt>
    <dgm:pt modelId="{36B162E2-23C7-491D-B9CE-4587DFCBD244}" type="pres">
      <dgm:prSet presAssocID="{1532E0BC-8D4C-4E0E-9540-FD8A2764A24A}" presName="BalanceSpacing1" presStyleCnt="0"/>
      <dgm:spPr/>
    </dgm:pt>
    <dgm:pt modelId="{CFB62C2D-4287-40EA-AC9A-16CD47E352F3}" type="pres">
      <dgm:prSet presAssocID="{7D727423-FCD0-47E8-A677-78DB79E881F1}" presName="Accent1Text" presStyleLbl="node1" presStyleIdx="3" presStyleCnt="6" custLinFactNeighborY="0"/>
      <dgm:spPr/>
    </dgm:pt>
    <dgm:pt modelId="{371DF0A7-31D8-47FB-93E3-FDC52850291E}" type="pres">
      <dgm:prSet presAssocID="{7D727423-FCD0-47E8-A677-78DB79E881F1}" presName="spaceBetweenRectangles" presStyleCnt="0"/>
      <dgm:spPr/>
    </dgm:pt>
    <dgm:pt modelId="{1AF501D4-0C02-4793-BF00-27E478496CC2}" type="pres">
      <dgm:prSet presAssocID="{63996996-057D-413A-A72E-B229B33F12B3}" presName="composite" presStyleCnt="0"/>
      <dgm:spPr/>
    </dgm:pt>
    <dgm:pt modelId="{D4612FE8-7636-418E-9650-6D42433557FD}" type="pres">
      <dgm:prSet presAssocID="{63996996-057D-413A-A72E-B229B33F12B3}" presName="Parent1" presStyleLbl="node1" presStyleIdx="4" presStyleCnt="6" custLinFactNeighborX="1245" custLinFactNeighborY="1617">
        <dgm:presLayoutVars>
          <dgm:chMax val="1"/>
          <dgm:chPref val="1"/>
          <dgm:bulletEnabled val="1"/>
        </dgm:presLayoutVars>
      </dgm:prSet>
      <dgm:spPr/>
    </dgm:pt>
    <dgm:pt modelId="{BB173EED-43D6-4194-8281-38BB438AA720}" type="pres">
      <dgm:prSet presAssocID="{63996996-057D-413A-A72E-B229B33F12B3}" presName="Childtext1" presStyleLbl="revTx" presStyleIdx="2" presStyleCnt="3" custScaleY="111463">
        <dgm:presLayoutVars>
          <dgm:chMax val="0"/>
          <dgm:chPref val="0"/>
          <dgm:bulletEnabled val="1"/>
        </dgm:presLayoutVars>
      </dgm:prSet>
      <dgm:spPr/>
    </dgm:pt>
    <dgm:pt modelId="{9D288CA1-2940-4E66-8C1E-193B990D64E9}" type="pres">
      <dgm:prSet presAssocID="{63996996-057D-413A-A72E-B229B33F12B3}" presName="BalanceSpacing" presStyleCnt="0"/>
      <dgm:spPr/>
    </dgm:pt>
    <dgm:pt modelId="{F3501577-BF5B-458B-A9EF-6620C41FB3DA}" type="pres">
      <dgm:prSet presAssocID="{63996996-057D-413A-A72E-B229B33F12B3}" presName="BalanceSpacing1" presStyleCnt="0"/>
      <dgm:spPr/>
    </dgm:pt>
    <dgm:pt modelId="{BD298F8E-FB85-4D25-8AC0-91A9D14943B0}" type="pres">
      <dgm:prSet presAssocID="{DA8CDA47-6CEC-40A9-B183-1F9D6B225CC4}" presName="Accent1Text" presStyleLbl="node1" presStyleIdx="5" presStyleCnt="6"/>
      <dgm:spPr/>
    </dgm:pt>
  </dgm:ptLst>
  <dgm:cxnLst>
    <dgm:cxn modelId="{34BE7A07-A794-42B1-A59A-A897DB88712F}" type="presOf" srcId="{1532E0BC-8D4C-4E0E-9540-FD8A2764A24A}" destId="{6B877135-6B64-4BB3-B517-C7690BD590AB}" srcOrd="0" destOrd="0" presId="urn:microsoft.com/office/officeart/2008/layout/AlternatingHexagons"/>
    <dgm:cxn modelId="{2C38A808-DF7F-4C20-A072-7F77F7B72A8E}" srcId="{63996996-057D-413A-A72E-B229B33F12B3}" destId="{8F5F8341-CEC2-4428-A38E-01CC4EB4A68A}" srcOrd="0" destOrd="0" parTransId="{18CD8523-63BB-4786-A618-18F0DB20CCD4}" sibTransId="{393235FB-D1A0-4394-839C-79E0F4201C56}"/>
    <dgm:cxn modelId="{F77A5C0D-D0A1-4DF7-8828-D76BEA2A6C57}" type="presOf" srcId="{36A2A7BD-D49C-4260-AA86-C0EE4F24E260}" destId="{4527F90A-A6AA-4C93-952E-B102A45B0B7A}" srcOrd="0" destOrd="0" presId="urn:microsoft.com/office/officeart/2008/layout/AlternatingHexagons"/>
    <dgm:cxn modelId="{6EA5FB1D-1331-4BA7-8EF6-D09FF9FBFE66}" type="presOf" srcId="{8F5F8341-CEC2-4428-A38E-01CC4EB4A68A}" destId="{BB173EED-43D6-4194-8281-38BB438AA720}" srcOrd="0" destOrd="0" presId="urn:microsoft.com/office/officeart/2008/layout/AlternatingHexagons"/>
    <dgm:cxn modelId="{EF55AD37-072B-4006-BFA1-A23BF4EF36F1}" type="presOf" srcId="{535B7E86-F3A2-4C81-BFB2-5BFC37E51606}" destId="{7080C169-28B6-4830-8D18-03F89AE0C976}" srcOrd="0" destOrd="0" presId="urn:microsoft.com/office/officeart/2008/layout/AlternatingHexagons"/>
    <dgm:cxn modelId="{24B4DD61-0DD1-49DC-BF64-3943BC8F2800}" srcId="{149E8F74-79B8-4FD0-B88F-35FB0441C9EF}" destId="{1532E0BC-8D4C-4E0E-9540-FD8A2764A24A}" srcOrd="1" destOrd="0" parTransId="{EC4B667E-8D57-4423-A7D3-B0B46BCCC78C}" sibTransId="{7D727423-FCD0-47E8-A677-78DB79E881F1}"/>
    <dgm:cxn modelId="{E2EA7470-B370-444F-88E5-58C541452F8B}" srcId="{535B7E86-F3A2-4C81-BFB2-5BFC37E51606}" destId="{3F72EC4F-07EA-44BB-84F9-19409B504AF2}" srcOrd="1" destOrd="0" parTransId="{1520844A-A342-4986-9E7C-3921A9E035F0}" sibTransId="{28587E01-5DE6-443A-BD7A-78FC2B9B0549}"/>
    <dgm:cxn modelId="{C6361258-ADC5-4520-ADE6-3E76F3D64356}" type="presOf" srcId="{63996996-057D-413A-A72E-B229B33F12B3}" destId="{D4612FE8-7636-418E-9650-6D42433557FD}" srcOrd="0" destOrd="0" presId="urn:microsoft.com/office/officeart/2008/layout/AlternatingHexagons"/>
    <dgm:cxn modelId="{7844B659-77EA-4A8B-8827-23E7042ABA2B}" srcId="{149E8F74-79B8-4FD0-B88F-35FB0441C9EF}" destId="{63996996-057D-413A-A72E-B229B33F12B3}" srcOrd="2" destOrd="0" parTransId="{0D4F239F-FD20-45A1-981D-394983DF4FA0}" sibTransId="{DA8CDA47-6CEC-40A9-B183-1F9D6B225CC4}"/>
    <dgm:cxn modelId="{C21A657E-4544-411A-8652-56B1EE3BDEE2}" type="presOf" srcId="{3F72EC4F-07EA-44BB-84F9-19409B504AF2}" destId="{FF13E2EC-99C2-4DF0-9A80-BF3D3CBD6BF0}" srcOrd="0" destOrd="1" presId="urn:microsoft.com/office/officeart/2008/layout/AlternatingHexagons"/>
    <dgm:cxn modelId="{9B5BC285-BCA5-4C64-ADCD-E815E6A4824B}" type="presOf" srcId="{35C55F06-453C-47F1-9481-0F7B7B054EB6}" destId="{E76B8055-C58C-49A5-9FBE-9FC9E2E94E90}" srcOrd="0" destOrd="0" presId="urn:microsoft.com/office/officeart/2008/layout/AlternatingHexagons"/>
    <dgm:cxn modelId="{1A3BE985-4E69-4045-BD5A-67ED7513DADF}" type="presOf" srcId="{B2F24826-6645-41F1-A67B-28CBC5E58E6D}" destId="{FF13E2EC-99C2-4DF0-9A80-BF3D3CBD6BF0}" srcOrd="0" destOrd="0" presId="urn:microsoft.com/office/officeart/2008/layout/AlternatingHexagons"/>
    <dgm:cxn modelId="{6E584E8D-00E7-46EA-A158-0895D9B99A54}" srcId="{535B7E86-F3A2-4C81-BFB2-5BFC37E51606}" destId="{B2F24826-6645-41F1-A67B-28CBC5E58E6D}" srcOrd="0" destOrd="0" parTransId="{C935EADA-79C4-480C-AB23-49FA3ED9164E}" sibTransId="{C5F8B7AA-3BC5-4E78-A3A4-11F4EE08EA1A}"/>
    <dgm:cxn modelId="{0877AE8F-C812-4E3A-8111-3B6571A8F016}" type="presOf" srcId="{7D727423-FCD0-47E8-A677-78DB79E881F1}" destId="{CFB62C2D-4287-40EA-AC9A-16CD47E352F3}" srcOrd="0" destOrd="0" presId="urn:microsoft.com/office/officeart/2008/layout/AlternatingHexagons"/>
    <dgm:cxn modelId="{3D3FAEA0-3F9A-421D-A452-39479B180041}" type="presOf" srcId="{DA8CDA47-6CEC-40A9-B183-1F9D6B225CC4}" destId="{BD298F8E-FB85-4D25-8AC0-91A9D14943B0}" srcOrd="0" destOrd="0" presId="urn:microsoft.com/office/officeart/2008/layout/AlternatingHexagons"/>
    <dgm:cxn modelId="{B34593CD-EB0C-40E5-B081-73737F8D6570}" srcId="{1532E0BC-8D4C-4E0E-9540-FD8A2764A24A}" destId="{36A2A7BD-D49C-4260-AA86-C0EE4F24E260}" srcOrd="0" destOrd="0" parTransId="{6609BDA4-E64C-4E19-BAED-44963D2870F5}" sibTransId="{7CA84809-DCE8-4540-A51E-25BF78C1500F}"/>
    <dgm:cxn modelId="{429A23F8-791C-4373-BE29-ED6392F4C92D}" type="presOf" srcId="{149E8F74-79B8-4FD0-B88F-35FB0441C9EF}" destId="{3F23EAE9-640D-42E2-8ADB-C44ED904E705}" srcOrd="0" destOrd="0" presId="urn:microsoft.com/office/officeart/2008/layout/AlternatingHexagons"/>
    <dgm:cxn modelId="{C91EF5FE-4DDB-4224-9201-8D83FC580DEC}" srcId="{149E8F74-79B8-4FD0-B88F-35FB0441C9EF}" destId="{535B7E86-F3A2-4C81-BFB2-5BFC37E51606}" srcOrd="0" destOrd="0" parTransId="{7146504A-9078-4E73-97D5-04EE75261496}" sibTransId="{35C55F06-453C-47F1-9481-0F7B7B054EB6}"/>
    <dgm:cxn modelId="{547B437A-F9CB-4984-A818-7BE334E417D4}" type="presParOf" srcId="{3F23EAE9-640D-42E2-8ADB-C44ED904E705}" destId="{940AB0B1-3D5A-4BB8-AF7D-2818CEEAB5F1}" srcOrd="0" destOrd="0" presId="urn:microsoft.com/office/officeart/2008/layout/AlternatingHexagons"/>
    <dgm:cxn modelId="{9266B42C-E160-409C-B7BF-A202967DAF5E}" type="presParOf" srcId="{940AB0B1-3D5A-4BB8-AF7D-2818CEEAB5F1}" destId="{7080C169-28B6-4830-8D18-03F89AE0C976}" srcOrd="0" destOrd="0" presId="urn:microsoft.com/office/officeart/2008/layout/AlternatingHexagons"/>
    <dgm:cxn modelId="{BA68136A-164B-4D4D-9E08-3D4C50B2AA95}" type="presParOf" srcId="{940AB0B1-3D5A-4BB8-AF7D-2818CEEAB5F1}" destId="{FF13E2EC-99C2-4DF0-9A80-BF3D3CBD6BF0}" srcOrd="1" destOrd="0" presId="urn:microsoft.com/office/officeart/2008/layout/AlternatingHexagons"/>
    <dgm:cxn modelId="{07B4014C-0EBC-4D8F-BDA2-81219D150EC5}" type="presParOf" srcId="{940AB0B1-3D5A-4BB8-AF7D-2818CEEAB5F1}" destId="{416C411E-5AA2-43BE-9730-A61B8ED55BB6}" srcOrd="2" destOrd="0" presId="urn:microsoft.com/office/officeart/2008/layout/AlternatingHexagons"/>
    <dgm:cxn modelId="{35BBC7EE-FD03-4000-9894-4AB0BD388D94}" type="presParOf" srcId="{940AB0B1-3D5A-4BB8-AF7D-2818CEEAB5F1}" destId="{25D2AABF-D74D-40AC-BE4F-1502DA0D3EFD}" srcOrd="3" destOrd="0" presId="urn:microsoft.com/office/officeart/2008/layout/AlternatingHexagons"/>
    <dgm:cxn modelId="{BE94C6F9-780A-4DDC-B968-1FCDF3925232}" type="presParOf" srcId="{940AB0B1-3D5A-4BB8-AF7D-2818CEEAB5F1}" destId="{E76B8055-C58C-49A5-9FBE-9FC9E2E94E90}" srcOrd="4" destOrd="0" presId="urn:microsoft.com/office/officeart/2008/layout/AlternatingHexagons"/>
    <dgm:cxn modelId="{BB73EB1F-04DC-466F-97E0-67EA571D2346}" type="presParOf" srcId="{3F23EAE9-640D-42E2-8ADB-C44ED904E705}" destId="{E92298C6-FD73-4241-B439-75B82A69C834}" srcOrd="1" destOrd="0" presId="urn:microsoft.com/office/officeart/2008/layout/AlternatingHexagons"/>
    <dgm:cxn modelId="{8524F7EA-8E06-4ECF-A061-B18C9DF2ACE5}" type="presParOf" srcId="{3F23EAE9-640D-42E2-8ADB-C44ED904E705}" destId="{C45C9860-4475-460D-A0F5-4401D307C4FD}" srcOrd="2" destOrd="0" presId="urn:microsoft.com/office/officeart/2008/layout/AlternatingHexagons"/>
    <dgm:cxn modelId="{B9C39F59-D78B-444C-82B5-E42B96D3FC16}" type="presParOf" srcId="{C45C9860-4475-460D-A0F5-4401D307C4FD}" destId="{6B877135-6B64-4BB3-B517-C7690BD590AB}" srcOrd="0" destOrd="0" presId="urn:microsoft.com/office/officeart/2008/layout/AlternatingHexagons"/>
    <dgm:cxn modelId="{7707C821-5D70-4C28-BDBF-9F286303B5B8}" type="presParOf" srcId="{C45C9860-4475-460D-A0F5-4401D307C4FD}" destId="{4527F90A-A6AA-4C93-952E-B102A45B0B7A}" srcOrd="1" destOrd="0" presId="urn:microsoft.com/office/officeart/2008/layout/AlternatingHexagons"/>
    <dgm:cxn modelId="{2847761D-0B73-41F5-9719-911121624877}" type="presParOf" srcId="{C45C9860-4475-460D-A0F5-4401D307C4FD}" destId="{26855BDB-3978-49B1-804C-761800424C7F}" srcOrd="2" destOrd="0" presId="urn:microsoft.com/office/officeart/2008/layout/AlternatingHexagons"/>
    <dgm:cxn modelId="{EB3EDF05-9B13-4A72-A283-88B986B700D3}" type="presParOf" srcId="{C45C9860-4475-460D-A0F5-4401D307C4FD}" destId="{36B162E2-23C7-491D-B9CE-4587DFCBD244}" srcOrd="3" destOrd="0" presId="urn:microsoft.com/office/officeart/2008/layout/AlternatingHexagons"/>
    <dgm:cxn modelId="{EA95CF2D-D871-4F6E-A568-0A77D834E61A}" type="presParOf" srcId="{C45C9860-4475-460D-A0F5-4401D307C4FD}" destId="{CFB62C2D-4287-40EA-AC9A-16CD47E352F3}" srcOrd="4" destOrd="0" presId="urn:microsoft.com/office/officeart/2008/layout/AlternatingHexagons"/>
    <dgm:cxn modelId="{D5C3C62B-8FB6-41C3-9035-47AEA2975BAF}" type="presParOf" srcId="{3F23EAE9-640D-42E2-8ADB-C44ED904E705}" destId="{371DF0A7-31D8-47FB-93E3-FDC52850291E}" srcOrd="3" destOrd="0" presId="urn:microsoft.com/office/officeart/2008/layout/AlternatingHexagons"/>
    <dgm:cxn modelId="{0D30EE0A-297A-48D7-92D5-EB8E25D7DBE6}" type="presParOf" srcId="{3F23EAE9-640D-42E2-8ADB-C44ED904E705}" destId="{1AF501D4-0C02-4793-BF00-27E478496CC2}" srcOrd="4" destOrd="0" presId="urn:microsoft.com/office/officeart/2008/layout/AlternatingHexagons"/>
    <dgm:cxn modelId="{49C47480-0916-4296-8AA3-98D035F88DF5}" type="presParOf" srcId="{1AF501D4-0C02-4793-BF00-27E478496CC2}" destId="{D4612FE8-7636-418E-9650-6D42433557FD}" srcOrd="0" destOrd="0" presId="urn:microsoft.com/office/officeart/2008/layout/AlternatingHexagons"/>
    <dgm:cxn modelId="{9272F89F-858F-47AC-B260-A4E56F1D8C12}" type="presParOf" srcId="{1AF501D4-0C02-4793-BF00-27E478496CC2}" destId="{BB173EED-43D6-4194-8281-38BB438AA720}" srcOrd="1" destOrd="0" presId="urn:microsoft.com/office/officeart/2008/layout/AlternatingHexagons"/>
    <dgm:cxn modelId="{7B8ED73D-646B-4724-BFB4-17F01F426212}" type="presParOf" srcId="{1AF501D4-0C02-4793-BF00-27E478496CC2}" destId="{9D288CA1-2940-4E66-8C1E-193B990D64E9}" srcOrd="2" destOrd="0" presId="urn:microsoft.com/office/officeart/2008/layout/AlternatingHexagons"/>
    <dgm:cxn modelId="{7EEDA99B-BC18-46A0-8048-25B61B34FDA6}" type="presParOf" srcId="{1AF501D4-0C02-4793-BF00-27E478496CC2}" destId="{F3501577-BF5B-458B-A9EF-6620C41FB3DA}" srcOrd="3" destOrd="0" presId="urn:microsoft.com/office/officeart/2008/layout/AlternatingHexagons"/>
    <dgm:cxn modelId="{64ABA329-437F-44E4-B68D-D05511801745}" type="presParOf" srcId="{1AF501D4-0C02-4793-BF00-27E478496CC2}" destId="{BD298F8E-FB85-4D25-8AC0-91A9D14943B0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D249B44-E216-49FD-88CB-FF72677A8A29}" type="doc">
      <dgm:prSet loTypeId="urn:microsoft.com/office/officeart/2005/8/layout/hierarchy3" loCatId="relationship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it-IT"/>
        </a:p>
      </dgm:t>
    </dgm:pt>
    <dgm:pt modelId="{E6552B51-F25D-4726-9EF3-9BAB070DCB57}">
      <dgm:prSet phldrT="[Testo]"/>
      <dgm:spPr/>
      <dgm:t>
        <a:bodyPr/>
        <a:lstStyle/>
        <a:p>
          <a:r>
            <a:rPr lang="it-IT" dirty="0"/>
            <a:t> PROJECT MANAGEMENT</a:t>
          </a:r>
        </a:p>
      </dgm:t>
    </dgm:pt>
    <dgm:pt modelId="{27741253-AA35-42B7-9CBF-7AA6CEF94B4B}" type="parTrans" cxnId="{923E6D18-AA85-4765-9E4A-20ED632FB46B}">
      <dgm:prSet/>
      <dgm:spPr/>
      <dgm:t>
        <a:bodyPr/>
        <a:lstStyle/>
        <a:p>
          <a:endParaRPr lang="it-IT"/>
        </a:p>
      </dgm:t>
    </dgm:pt>
    <dgm:pt modelId="{6DB1265F-CFD1-4B02-8CC1-32DF0C60289F}" type="sibTrans" cxnId="{923E6D18-AA85-4765-9E4A-20ED632FB46B}">
      <dgm:prSet/>
      <dgm:spPr/>
      <dgm:t>
        <a:bodyPr/>
        <a:lstStyle/>
        <a:p>
          <a:endParaRPr lang="it-IT"/>
        </a:p>
      </dgm:t>
    </dgm:pt>
    <dgm:pt modelId="{41D62ACA-9362-487E-A4A7-C00B8FB61CB3}">
      <dgm:prSet phldrT="[Testo]"/>
      <dgm:spPr/>
      <dgm:t>
        <a:bodyPr/>
        <a:lstStyle/>
        <a:p>
          <a:r>
            <a:rPr lang="it-IT" dirty="0"/>
            <a:t>SELEZIONARE IL TEAM DI PROGETTO</a:t>
          </a:r>
        </a:p>
      </dgm:t>
    </dgm:pt>
    <dgm:pt modelId="{367508C5-41C6-4C36-B107-85694AD01FB2}" type="parTrans" cxnId="{58BAEA93-9F36-46EC-841A-54E3EB4B2D7C}">
      <dgm:prSet/>
      <dgm:spPr/>
      <dgm:t>
        <a:bodyPr/>
        <a:lstStyle/>
        <a:p>
          <a:endParaRPr lang="it-IT"/>
        </a:p>
      </dgm:t>
    </dgm:pt>
    <dgm:pt modelId="{149F719D-3CD3-4FEF-856F-1066BC9CD122}" type="sibTrans" cxnId="{58BAEA93-9F36-46EC-841A-54E3EB4B2D7C}">
      <dgm:prSet/>
      <dgm:spPr/>
      <dgm:t>
        <a:bodyPr/>
        <a:lstStyle/>
        <a:p>
          <a:endParaRPr lang="it-IT"/>
        </a:p>
      </dgm:t>
    </dgm:pt>
    <dgm:pt modelId="{61752EC5-44ED-4D0C-995D-FF508C1863A7}">
      <dgm:prSet phldrT="[Testo]"/>
      <dgm:spPr/>
      <dgm:t>
        <a:bodyPr/>
        <a:lstStyle/>
        <a:p>
          <a:r>
            <a:rPr lang="it-IT" dirty="0"/>
            <a:t>PRENDERE CONTATTI CON RAPPRESENTANTI</a:t>
          </a:r>
        </a:p>
      </dgm:t>
    </dgm:pt>
    <dgm:pt modelId="{616269A1-6056-44D8-B2AE-D7C19FAB07A3}" type="parTrans" cxnId="{8BB3A852-69B1-4E19-9627-E5B39B9C73C0}">
      <dgm:prSet/>
      <dgm:spPr/>
      <dgm:t>
        <a:bodyPr/>
        <a:lstStyle/>
        <a:p>
          <a:endParaRPr lang="it-IT"/>
        </a:p>
      </dgm:t>
    </dgm:pt>
    <dgm:pt modelId="{CD716ED1-DF07-409A-9DB0-C38F654DFDFF}" type="sibTrans" cxnId="{8BB3A852-69B1-4E19-9627-E5B39B9C73C0}">
      <dgm:prSet/>
      <dgm:spPr/>
      <dgm:t>
        <a:bodyPr/>
        <a:lstStyle/>
        <a:p>
          <a:endParaRPr lang="it-IT"/>
        </a:p>
      </dgm:t>
    </dgm:pt>
    <dgm:pt modelId="{DA2CCD33-6043-4C82-8486-3EC787FB0C7E}">
      <dgm:prSet phldrT="[Testo]"/>
      <dgm:spPr/>
      <dgm:t>
        <a:bodyPr/>
        <a:lstStyle/>
        <a:p>
          <a:r>
            <a:rPr lang="it-IT" dirty="0"/>
            <a:t>DEFINIRE GLI OBIETTIVI E I DELIVERABLE </a:t>
          </a:r>
        </a:p>
      </dgm:t>
    </dgm:pt>
    <dgm:pt modelId="{66647D8D-DC0D-4044-917A-0DC11F601CB8}" type="parTrans" cxnId="{D14B4F94-368E-404F-B78D-5A8CEFF97F4F}">
      <dgm:prSet/>
      <dgm:spPr/>
      <dgm:t>
        <a:bodyPr/>
        <a:lstStyle/>
        <a:p>
          <a:endParaRPr lang="it-IT"/>
        </a:p>
      </dgm:t>
    </dgm:pt>
    <dgm:pt modelId="{2B2384A1-0354-497F-A834-8F50DCDF017F}" type="sibTrans" cxnId="{D14B4F94-368E-404F-B78D-5A8CEFF97F4F}">
      <dgm:prSet/>
      <dgm:spPr/>
      <dgm:t>
        <a:bodyPr/>
        <a:lstStyle/>
        <a:p>
          <a:endParaRPr lang="it-IT"/>
        </a:p>
      </dgm:t>
    </dgm:pt>
    <dgm:pt modelId="{E261C6E2-0898-4B04-8FF0-DD6E71FB8351}">
      <dgm:prSet phldrT="[Testo]"/>
      <dgm:spPr/>
      <dgm:t>
        <a:bodyPr/>
        <a:lstStyle/>
        <a:p>
          <a:r>
            <a:rPr lang="it-IT" dirty="0"/>
            <a:t>INDIVIDUARE I FCS E ANALISI STAKEHOLDER</a:t>
          </a:r>
        </a:p>
      </dgm:t>
    </dgm:pt>
    <dgm:pt modelId="{F161A7B4-5F00-479F-BC34-9FED1C5CA5F1}" type="parTrans" cxnId="{EEBED721-43A3-4AC5-8137-EAACE74AB967}">
      <dgm:prSet/>
      <dgm:spPr/>
      <dgm:t>
        <a:bodyPr/>
        <a:lstStyle/>
        <a:p>
          <a:endParaRPr lang="it-IT"/>
        </a:p>
      </dgm:t>
    </dgm:pt>
    <dgm:pt modelId="{495C24FA-FA36-4958-B878-957E13030695}" type="sibTrans" cxnId="{EEBED721-43A3-4AC5-8137-EAACE74AB967}">
      <dgm:prSet/>
      <dgm:spPr/>
      <dgm:t>
        <a:bodyPr/>
        <a:lstStyle/>
        <a:p>
          <a:endParaRPr lang="it-IT"/>
        </a:p>
      </dgm:t>
    </dgm:pt>
    <dgm:pt modelId="{8CA6824D-13E5-4727-9D22-C7182F7B6E95}">
      <dgm:prSet phldrT="[Testo]"/>
      <dgm:spPr/>
      <dgm:t>
        <a:bodyPr/>
        <a:lstStyle/>
        <a:p>
          <a:r>
            <a:rPr lang="it-IT" dirty="0"/>
            <a:t>ORGANIZZARE RIUNIONI STAKEHOLDER</a:t>
          </a:r>
        </a:p>
      </dgm:t>
    </dgm:pt>
    <dgm:pt modelId="{B2B155F1-871D-4AC1-9D11-7031A6419A09}" type="parTrans" cxnId="{646789F0-995A-4C3F-AC3D-259FA915A03F}">
      <dgm:prSet/>
      <dgm:spPr/>
      <dgm:t>
        <a:bodyPr/>
        <a:lstStyle/>
        <a:p>
          <a:endParaRPr lang="it-IT"/>
        </a:p>
      </dgm:t>
    </dgm:pt>
    <dgm:pt modelId="{9DA16C73-43C1-4E64-AADF-DA17C76B66C0}" type="sibTrans" cxnId="{646789F0-995A-4C3F-AC3D-259FA915A03F}">
      <dgm:prSet/>
      <dgm:spPr/>
      <dgm:t>
        <a:bodyPr/>
        <a:lstStyle/>
        <a:p>
          <a:endParaRPr lang="it-IT"/>
        </a:p>
      </dgm:t>
    </dgm:pt>
    <dgm:pt modelId="{DF8FA407-BD98-477B-B59C-D8006775846C}">
      <dgm:prSet phldrT="[Testo]"/>
      <dgm:spPr/>
      <dgm:t>
        <a:bodyPr/>
        <a:lstStyle/>
        <a:p>
          <a:r>
            <a:rPr lang="it-IT" dirty="0"/>
            <a:t>COORDINARE IL PROGETTO</a:t>
          </a:r>
        </a:p>
      </dgm:t>
    </dgm:pt>
    <dgm:pt modelId="{77FC3955-5FBA-480A-B01E-E4328EB4CC97}" type="parTrans" cxnId="{D80C5D76-01C9-495C-9B4B-BB1026FE9856}">
      <dgm:prSet/>
      <dgm:spPr/>
      <dgm:t>
        <a:bodyPr/>
        <a:lstStyle/>
        <a:p>
          <a:endParaRPr lang="it-IT"/>
        </a:p>
      </dgm:t>
    </dgm:pt>
    <dgm:pt modelId="{5CECEA9E-0B68-4E4D-9A3B-D43651F0DEA3}" type="sibTrans" cxnId="{D80C5D76-01C9-495C-9B4B-BB1026FE9856}">
      <dgm:prSet/>
      <dgm:spPr/>
      <dgm:t>
        <a:bodyPr/>
        <a:lstStyle/>
        <a:p>
          <a:endParaRPr lang="it-IT"/>
        </a:p>
      </dgm:t>
    </dgm:pt>
    <dgm:pt modelId="{BABD5779-F68E-4DF4-B531-E5DEE2DDF44D}">
      <dgm:prSet phldrT="[Testo]"/>
      <dgm:spPr/>
      <dgm:t>
        <a:bodyPr/>
        <a:lstStyle/>
        <a:p>
          <a:r>
            <a:rPr lang="it-IT" dirty="0"/>
            <a:t>VALUTAZIONE POST REALIZZATIVA E MONITORAGGIO KPI</a:t>
          </a:r>
        </a:p>
      </dgm:t>
    </dgm:pt>
    <dgm:pt modelId="{95121803-847C-4B35-A405-223493501FB6}" type="parTrans" cxnId="{C2242F0A-EE64-4DC9-84E9-A6D03FB7D7D6}">
      <dgm:prSet/>
      <dgm:spPr/>
      <dgm:t>
        <a:bodyPr/>
        <a:lstStyle/>
        <a:p>
          <a:endParaRPr lang="it-IT"/>
        </a:p>
      </dgm:t>
    </dgm:pt>
    <dgm:pt modelId="{652D545A-3C5C-4B8A-A17B-0E1BBF602EA7}" type="sibTrans" cxnId="{C2242F0A-EE64-4DC9-84E9-A6D03FB7D7D6}">
      <dgm:prSet/>
      <dgm:spPr/>
      <dgm:t>
        <a:bodyPr/>
        <a:lstStyle/>
        <a:p>
          <a:endParaRPr lang="it-IT"/>
        </a:p>
      </dgm:t>
    </dgm:pt>
    <dgm:pt modelId="{492B5CE9-B648-4336-8BED-E226EF2B21D9}">
      <dgm:prSet phldrT="[Testo]"/>
      <dgm:spPr/>
      <dgm:t>
        <a:bodyPr/>
        <a:lstStyle/>
        <a:p>
          <a:r>
            <a:rPr lang="it-IT" dirty="0"/>
            <a:t>PROTOCOLLI D’INTESA CON FF.OO E SS</a:t>
          </a:r>
        </a:p>
      </dgm:t>
    </dgm:pt>
    <dgm:pt modelId="{313F15D2-601F-44CB-8556-83127CE61E33}" type="parTrans" cxnId="{FBBD16FB-E1F9-470E-8E04-76EC021A6934}">
      <dgm:prSet/>
      <dgm:spPr/>
      <dgm:t>
        <a:bodyPr/>
        <a:lstStyle/>
        <a:p>
          <a:endParaRPr lang="it-IT"/>
        </a:p>
      </dgm:t>
    </dgm:pt>
    <dgm:pt modelId="{7E262BA0-CEAE-4385-9874-41EFF9118878}" type="sibTrans" cxnId="{FBBD16FB-E1F9-470E-8E04-76EC021A6934}">
      <dgm:prSet/>
      <dgm:spPr/>
      <dgm:t>
        <a:bodyPr/>
        <a:lstStyle/>
        <a:p>
          <a:endParaRPr lang="it-IT"/>
        </a:p>
      </dgm:t>
    </dgm:pt>
    <dgm:pt modelId="{74C654ED-D8E2-4135-9DB5-7A43ED517377}">
      <dgm:prSet phldrT="[Testo]"/>
      <dgm:spPr/>
      <dgm:t>
        <a:bodyPr/>
        <a:lstStyle/>
        <a:p>
          <a:r>
            <a:rPr lang="it-IT" dirty="0"/>
            <a:t>PREDISPORRE BOZZE DI PROTOCOLLI</a:t>
          </a:r>
        </a:p>
      </dgm:t>
    </dgm:pt>
    <dgm:pt modelId="{AD1DCA32-722F-4931-815D-3B919CFE2578}" type="parTrans" cxnId="{98058C83-4A22-44DD-BD1D-D51A4E026B11}">
      <dgm:prSet/>
      <dgm:spPr/>
      <dgm:t>
        <a:bodyPr/>
        <a:lstStyle/>
        <a:p>
          <a:endParaRPr lang="it-IT"/>
        </a:p>
      </dgm:t>
    </dgm:pt>
    <dgm:pt modelId="{46A6B5FC-2599-4768-A466-ABEA09691AC9}" type="sibTrans" cxnId="{98058C83-4A22-44DD-BD1D-D51A4E026B11}">
      <dgm:prSet/>
      <dgm:spPr/>
      <dgm:t>
        <a:bodyPr/>
        <a:lstStyle/>
        <a:p>
          <a:endParaRPr lang="it-IT"/>
        </a:p>
      </dgm:t>
    </dgm:pt>
    <dgm:pt modelId="{5A5F63CC-451C-4BD9-97AA-3FB79703932A}">
      <dgm:prSet phldrT="[Testo]"/>
      <dgm:spPr/>
      <dgm:t>
        <a:bodyPr/>
        <a:lstStyle/>
        <a:p>
          <a:r>
            <a:rPr lang="it-IT" dirty="0"/>
            <a:t>ASSUNZIONE DECRETI DI APPROVAZIONE BOZZE</a:t>
          </a:r>
        </a:p>
      </dgm:t>
    </dgm:pt>
    <dgm:pt modelId="{23775CFB-2636-404A-9B62-DE21D380F3DD}" type="parTrans" cxnId="{A1B1D573-0B9D-4832-8E94-A7A9FD69C4B6}">
      <dgm:prSet/>
      <dgm:spPr/>
      <dgm:t>
        <a:bodyPr/>
        <a:lstStyle/>
        <a:p>
          <a:endParaRPr lang="it-IT"/>
        </a:p>
      </dgm:t>
    </dgm:pt>
    <dgm:pt modelId="{0D2D0996-4160-4579-B527-9E690D3F6573}" type="sibTrans" cxnId="{A1B1D573-0B9D-4832-8E94-A7A9FD69C4B6}">
      <dgm:prSet/>
      <dgm:spPr/>
      <dgm:t>
        <a:bodyPr/>
        <a:lstStyle/>
        <a:p>
          <a:endParaRPr lang="it-IT"/>
        </a:p>
      </dgm:t>
    </dgm:pt>
    <dgm:pt modelId="{07AC2D91-772B-40DC-9488-E006AEE763D6}">
      <dgm:prSet phldrT="[Testo]"/>
      <dgm:spPr/>
      <dgm:t>
        <a:bodyPr/>
        <a:lstStyle/>
        <a:p>
          <a:r>
            <a:rPr lang="it-IT" dirty="0"/>
            <a:t>SOTTOSCRIZIONE PROTOCOLLI</a:t>
          </a:r>
        </a:p>
      </dgm:t>
    </dgm:pt>
    <dgm:pt modelId="{6ED41BFA-5248-4143-B8A0-537BF4B15B15}" type="parTrans" cxnId="{951F6F5E-E5A2-4FD2-8FDC-B6B937D9E3EC}">
      <dgm:prSet/>
      <dgm:spPr/>
      <dgm:t>
        <a:bodyPr/>
        <a:lstStyle/>
        <a:p>
          <a:endParaRPr lang="it-IT"/>
        </a:p>
      </dgm:t>
    </dgm:pt>
    <dgm:pt modelId="{8131F967-6F61-4555-801E-2EEF00FC7144}" type="sibTrans" cxnId="{951F6F5E-E5A2-4FD2-8FDC-B6B937D9E3EC}">
      <dgm:prSet/>
      <dgm:spPr/>
      <dgm:t>
        <a:bodyPr/>
        <a:lstStyle/>
        <a:p>
          <a:endParaRPr lang="it-IT"/>
        </a:p>
      </dgm:t>
    </dgm:pt>
    <dgm:pt modelId="{21CB2745-3FDC-4C68-B838-8F08FE376801}">
      <dgm:prSet/>
      <dgm:spPr/>
      <dgm:t>
        <a:bodyPr/>
        <a:lstStyle/>
        <a:p>
          <a:r>
            <a:rPr lang="it-IT" dirty="0"/>
            <a:t>PIATTAFORMA WEB ART’APP PIATTAFORMA NUOVA AGENZIA SOCIALE PER LA CASA </a:t>
          </a:r>
        </a:p>
      </dgm:t>
    </dgm:pt>
    <dgm:pt modelId="{461DAAFF-1029-4CE6-B2C2-6C13C6FB2716}" type="parTrans" cxnId="{D9CE8527-B61F-4EC8-8CA5-2A0ED8FE5DE0}">
      <dgm:prSet/>
      <dgm:spPr/>
      <dgm:t>
        <a:bodyPr/>
        <a:lstStyle/>
        <a:p>
          <a:endParaRPr lang="it-IT"/>
        </a:p>
      </dgm:t>
    </dgm:pt>
    <dgm:pt modelId="{66E3AD3D-F955-4CA8-885F-5382660FBAE4}" type="sibTrans" cxnId="{D9CE8527-B61F-4EC8-8CA5-2A0ED8FE5DE0}">
      <dgm:prSet/>
      <dgm:spPr/>
      <dgm:t>
        <a:bodyPr/>
        <a:lstStyle/>
        <a:p>
          <a:endParaRPr lang="it-IT"/>
        </a:p>
      </dgm:t>
    </dgm:pt>
    <dgm:pt modelId="{BCB7ACFF-E415-47F3-8223-75C6CB94BAD8}">
      <dgm:prSet/>
      <dgm:spPr/>
      <dgm:t>
        <a:bodyPr/>
        <a:lstStyle/>
        <a:p>
          <a:r>
            <a:rPr lang="it-IT" dirty="0"/>
            <a:t>LAVORI DI RECUPERO DEGLI SPAZI EX CONSORZIO</a:t>
          </a:r>
        </a:p>
      </dgm:t>
    </dgm:pt>
    <dgm:pt modelId="{8D64C20D-EE12-4FD6-A029-AE77EA9466E4}" type="parTrans" cxnId="{22DC0F99-43D3-4772-984D-E9292FBE12AC}">
      <dgm:prSet/>
      <dgm:spPr/>
      <dgm:t>
        <a:bodyPr/>
        <a:lstStyle/>
        <a:p>
          <a:endParaRPr lang="it-IT"/>
        </a:p>
      </dgm:t>
    </dgm:pt>
    <dgm:pt modelId="{7AA9E4E8-34B9-4BE0-8079-C53809D6EC35}" type="sibTrans" cxnId="{22DC0F99-43D3-4772-984D-E9292FBE12AC}">
      <dgm:prSet/>
      <dgm:spPr/>
      <dgm:t>
        <a:bodyPr/>
        <a:lstStyle/>
        <a:p>
          <a:endParaRPr lang="it-IT"/>
        </a:p>
      </dgm:t>
    </dgm:pt>
    <dgm:pt modelId="{B11BF6D4-CD18-41D5-B6A4-FDA07D571875}">
      <dgm:prSet/>
      <dgm:spPr/>
      <dgm:t>
        <a:bodyPr/>
        <a:lstStyle/>
        <a:p>
          <a:r>
            <a:rPr lang="it-IT" dirty="0"/>
            <a:t>PREDISPOSIZIONE CAPITOLATI DI GARA</a:t>
          </a:r>
        </a:p>
      </dgm:t>
    </dgm:pt>
    <dgm:pt modelId="{2B004A80-0B9E-4F48-954C-F9B45DFF1D07}" type="parTrans" cxnId="{E136845F-34B3-48D8-A53A-DC75262620E8}">
      <dgm:prSet/>
      <dgm:spPr/>
      <dgm:t>
        <a:bodyPr/>
        <a:lstStyle/>
        <a:p>
          <a:endParaRPr lang="it-IT"/>
        </a:p>
      </dgm:t>
    </dgm:pt>
    <dgm:pt modelId="{2B7587D0-E882-428E-939D-2B689F586284}" type="sibTrans" cxnId="{E136845F-34B3-48D8-A53A-DC75262620E8}">
      <dgm:prSet/>
      <dgm:spPr/>
      <dgm:t>
        <a:bodyPr/>
        <a:lstStyle/>
        <a:p>
          <a:endParaRPr lang="it-IT"/>
        </a:p>
      </dgm:t>
    </dgm:pt>
    <dgm:pt modelId="{3D00D393-43AB-41E5-B06D-AF0E5DB55A74}">
      <dgm:prSet/>
      <dgm:spPr/>
      <dgm:t>
        <a:bodyPr/>
        <a:lstStyle/>
        <a:p>
          <a:r>
            <a:rPr lang="it-IT" dirty="0"/>
            <a:t>ADOZIONE DETERMINE A CONTRARRE E CIG</a:t>
          </a:r>
        </a:p>
      </dgm:t>
    </dgm:pt>
    <dgm:pt modelId="{B8CA81BD-F6AE-431C-B3A3-A163F3BCBA81}" type="parTrans" cxnId="{2A891248-1A17-4D3C-AF33-0CCED91520A9}">
      <dgm:prSet/>
      <dgm:spPr/>
      <dgm:t>
        <a:bodyPr/>
        <a:lstStyle/>
        <a:p>
          <a:endParaRPr lang="it-IT"/>
        </a:p>
      </dgm:t>
    </dgm:pt>
    <dgm:pt modelId="{987EA2D0-7235-4D72-A23E-27852A53C387}" type="sibTrans" cxnId="{2A891248-1A17-4D3C-AF33-0CCED91520A9}">
      <dgm:prSet/>
      <dgm:spPr/>
      <dgm:t>
        <a:bodyPr/>
        <a:lstStyle/>
        <a:p>
          <a:endParaRPr lang="it-IT"/>
        </a:p>
      </dgm:t>
    </dgm:pt>
    <dgm:pt modelId="{891271CD-28A8-474B-A42E-D7D98ED0A0B7}">
      <dgm:prSet/>
      <dgm:spPr/>
      <dgm:t>
        <a:bodyPr/>
        <a:lstStyle/>
        <a:p>
          <a:r>
            <a:rPr lang="it-IT" dirty="0"/>
            <a:t>PUBBLICAZIONE GARA</a:t>
          </a:r>
        </a:p>
      </dgm:t>
    </dgm:pt>
    <dgm:pt modelId="{F384E1A6-6BCC-405C-8CB6-60BF087CC941}" type="parTrans" cxnId="{B37F2E0B-57C7-40A1-A6CD-173277188E76}">
      <dgm:prSet/>
      <dgm:spPr/>
      <dgm:t>
        <a:bodyPr/>
        <a:lstStyle/>
        <a:p>
          <a:endParaRPr lang="it-IT"/>
        </a:p>
      </dgm:t>
    </dgm:pt>
    <dgm:pt modelId="{B4DEDA5B-737C-4152-821D-EDB4D93F9E9D}" type="sibTrans" cxnId="{B37F2E0B-57C7-40A1-A6CD-173277188E76}">
      <dgm:prSet/>
      <dgm:spPr/>
      <dgm:t>
        <a:bodyPr/>
        <a:lstStyle/>
        <a:p>
          <a:endParaRPr lang="it-IT"/>
        </a:p>
      </dgm:t>
    </dgm:pt>
    <dgm:pt modelId="{544D5456-B19C-4E98-8194-DE90182DD09F}">
      <dgm:prSet/>
      <dgm:spPr/>
      <dgm:t>
        <a:bodyPr/>
        <a:lstStyle/>
        <a:p>
          <a:r>
            <a:rPr lang="it-IT" dirty="0"/>
            <a:t>APERTURA OFFERTE</a:t>
          </a:r>
        </a:p>
      </dgm:t>
    </dgm:pt>
    <dgm:pt modelId="{5716DA5A-F06B-4EFE-B44D-DEF9D1744688}" type="parTrans" cxnId="{BABB06A1-CCA8-4CAC-AE2B-383DF2E1291E}">
      <dgm:prSet/>
      <dgm:spPr/>
      <dgm:t>
        <a:bodyPr/>
        <a:lstStyle/>
        <a:p>
          <a:endParaRPr lang="it-IT"/>
        </a:p>
      </dgm:t>
    </dgm:pt>
    <dgm:pt modelId="{E0C5F768-D545-45A9-8BBB-075AD17D9F18}" type="sibTrans" cxnId="{BABB06A1-CCA8-4CAC-AE2B-383DF2E1291E}">
      <dgm:prSet/>
      <dgm:spPr/>
      <dgm:t>
        <a:bodyPr/>
        <a:lstStyle/>
        <a:p>
          <a:endParaRPr lang="it-IT"/>
        </a:p>
      </dgm:t>
    </dgm:pt>
    <dgm:pt modelId="{D075FEE2-0523-437D-87A3-32EEAB8896E9}">
      <dgm:prSet/>
      <dgm:spPr/>
      <dgm:t>
        <a:bodyPr/>
        <a:lstStyle/>
        <a:p>
          <a:r>
            <a:rPr lang="it-IT" dirty="0"/>
            <a:t>PREDISPOSIZIONE BANDO</a:t>
          </a:r>
        </a:p>
      </dgm:t>
    </dgm:pt>
    <dgm:pt modelId="{A2537A63-9B8C-48FA-9E81-07A978A7CD90}" type="parTrans" cxnId="{6474A6DD-9215-4AE5-9921-6678928E10A8}">
      <dgm:prSet/>
      <dgm:spPr/>
      <dgm:t>
        <a:bodyPr/>
        <a:lstStyle/>
        <a:p>
          <a:endParaRPr lang="it-IT"/>
        </a:p>
      </dgm:t>
    </dgm:pt>
    <dgm:pt modelId="{C18660E3-2FE1-44F4-A6AB-BC930D3635F2}" type="sibTrans" cxnId="{6474A6DD-9215-4AE5-9921-6678928E10A8}">
      <dgm:prSet/>
      <dgm:spPr/>
      <dgm:t>
        <a:bodyPr/>
        <a:lstStyle/>
        <a:p>
          <a:endParaRPr lang="it-IT"/>
        </a:p>
      </dgm:t>
    </dgm:pt>
    <dgm:pt modelId="{A88B2F79-1DEA-46FB-A4AE-9E398432E130}">
      <dgm:prSet/>
      <dgm:spPr/>
      <dgm:t>
        <a:bodyPr/>
        <a:lstStyle/>
        <a:p>
          <a:r>
            <a:rPr lang="it-IT" dirty="0"/>
            <a:t>PROCEDURE DI ASSUNZIONE COMMUNTY MANAGER</a:t>
          </a:r>
        </a:p>
      </dgm:t>
    </dgm:pt>
    <dgm:pt modelId="{985752DB-B091-48B9-8A58-1776B9C75C92}" type="sibTrans" cxnId="{AE8C1EF6-F349-423C-8BF6-A222202DBA27}">
      <dgm:prSet/>
      <dgm:spPr/>
      <dgm:t>
        <a:bodyPr/>
        <a:lstStyle/>
        <a:p>
          <a:endParaRPr lang="it-IT"/>
        </a:p>
      </dgm:t>
    </dgm:pt>
    <dgm:pt modelId="{83D247EB-CB1A-421F-A616-6FA9C29B4466}" type="parTrans" cxnId="{AE8C1EF6-F349-423C-8BF6-A222202DBA27}">
      <dgm:prSet/>
      <dgm:spPr/>
      <dgm:t>
        <a:bodyPr/>
        <a:lstStyle/>
        <a:p>
          <a:endParaRPr lang="it-IT"/>
        </a:p>
      </dgm:t>
    </dgm:pt>
    <dgm:pt modelId="{9B3A9664-5430-4EE0-824E-C41FD15F1F9A}">
      <dgm:prSet/>
      <dgm:spPr/>
      <dgm:t>
        <a:bodyPr/>
        <a:lstStyle/>
        <a:p>
          <a:r>
            <a:rPr lang="it-IT" dirty="0"/>
            <a:t>VERIFICA REQUISITI</a:t>
          </a:r>
        </a:p>
      </dgm:t>
    </dgm:pt>
    <dgm:pt modelId="{22FB6D4B-5380-4471-9FB9-6CB1C63F1503}" type="parTrans" cxnId="{613FB573-2EAE-49EE-91B7-4565B2CD3681}">
      <dgm:prSet/>
      <dgm:spPr/>
      <dgm:t>
        <a:bodyPr/>
        <a:lstStyle/>
        <a:p>
          <a:endParaRPr lang="it-IT"/>
        </a:p>
      </dgm:t>
    </dgm:pt>
    <dgm:pt modelId="{2AEDCE14-8CED-47F9-BD72-2EE29941C0CB}" type="sibTrans" cxnId="{613FB573-2EAE-49EE-91B7-4565B2CD3681}">
      <dgm:prSet/>
      <dgm:spPr/>
      <dgm:t>
        <a:bodyPr/>
        <a:lstStyle/>
        <a:p>
          <a:endParaRPr lang="it-IT"/>
        </a:p>
      </dgm:t>
    </dgm:pt>
    <dgm:pt modelId="{BEF0CFD9-ECD2-48EB-8FEB-8163A43992C7}">
      <dgm:prSet/>
      <dgm:spPr/>
      <dgm:t>
        <a:bodyPr/>
        <a:lstStyle/>
        <a:p>
          <a:r>
            <a:rPr lang="it-IT" dirty="0"/>
            <a:t>AGGIUDICAZIONE</a:t>
          </a:r>
        </a:p>
      </dgm:t>
    </dgm:pt>
    <dgm:pt modelId="{550E467F-735A-4F49-A3C4-3063AC6F4A31}" type="parTrans" cxnId="{E0B8C767-72C9-45D2-BAC2-08CA6D4BB79F}">
      <dgm:prSet/>
      <dgm:spPr/>
      <dgm:t>
        <a:bodyPr/>
        <a:lstStyle/>
        <a:p>
          <a:endParaRPr lang="it-IT"/>
        </a:p>
      </dgm:t>
    </dgm:pt>
    <dgm:pt modelId="{6B80C19A-59C1-46C3-A5C2-21EEBC045AE2}" type="sibTrans" cxnId="{E0B8C767-72C9-45D2-BAC2-08CA6D4BB79F}">
      <dgm:prSet/>
      <dgm:spPr/>
      <dgm:t>
        <a:bodyPr/>
        <a:lstStyle/>
        <a:p>
          <a:endParaRPr lang="it-IT"/>
        </a:p>
      </dgm:t>
    </dgm:pt>
    <dgm:pt modelId="{3CDECE3D-ABF5-4972-A63A-92D8CCDC6971}">
      <dgm:prSet/>
      <dgm:spPr/>
      <dgm:t>
        <a:bodyPr/>
        <a:lstStyle/>
        <a:p>
          <a:r>
            <a:rPr lang="it-IT" dirty="0"/>
            <a:t>PUBBLICAZIONE</a:t>
          </a:r>
        </a:p>
      </dgm:t>
    </dgm:pt>
    <dgm:pt modelId="{C6035ECB-FEC8-4603-B834-94E473ED7729}" type="parTrans" cxnId="{503B00D0-DA91-44F9-B60C-8AE6580C571D}">
      <dgm:prSet/>
      <dgm:spPr/>
      <dgm:t>
        <a:bodyPr/>
        <a:lstStyle/>
        <a:p>
          <a:endParaRPr lang="it-IT"/>
        </a:p>
      </dgm:t>
    </dgm:pt>
    <dgm:pt modelId="{AE60D60D-7C6A-4E84-8A00-147F2EA08842}" type="sibTrans" cxnId="{503B00D0-DA91-44F9-B60C-8AE6580C571D}">
      <dgm:prSet/>
      <dgm:spPr/>
      <dgm:t>
        <a:bodyPr/>
        <a:lstStyle/>
        <a:p>
          <a:endParaRPr lang="it-IT"/>
        </a:p>
      </dgm:t>
    </dgm:pt>
    <dgm:pt modelId="{18B952C2-7FC1-4499-9613-23BA16DD4F79}">
      <dgm:prSet/>
      <dgm:spPr/>
      <dgm:t>
        <a:bodyPr/>
        <a:lstStyle/>
        <a:p>
          <a:r>
            <a:rPr lang="it-IT" dirty="0"/>
            <a:t>ESAME DOMANDE</a:t>
          </a:r>
        </a:p>
      </dgm:t>
    </dgm:pt>
    <dgm:pt modelId="{6A687538-CFEB-4B59-9817-DD834E0A5690}" type="parTrans" cxnId="{CCDEF8B7-3ABA-4920-B01B-295F5F426036}">
      <dgm:prSet/>
      <dgm:spPr/>
      <dgm:t>
        <a:bodyPr/>
        <a:lstStyle/>
        <a:p>
          <a:endParaRPr lang="it-IT"/>
        </a:p>
      </dgm:t>
    </dgm:pt>
    <dgm:pt modelId="{E2E32999-875A-4ED2-9FE2-619836F87963}" type="sibTrans" cxnId="{CCDEF8B7-3ABA-4920-B01B-295F5F426036}">
      <dgm:prSet/>
      <dgm:spPr/>
      <dgm:t>
        <a:bodyPr/>
        <a:lstStyle/>
        <a:p>
          <a:endParaRPr lang="it-IT"/>
        </a:p>
      </dgm:t>
    </dgm:pt>
    <dgm:pt modelId="{F6EEA959-9F5B-4962-933E-3A4E6D4E42A5}">
      <dgm:prSet/>
      <dgm:spPr/>
      <dgm:t>
        <a:bodyPr/>
        <a:lstStyle/>
        <a:p>
          <a:r>
            <a:rPr lang="it-IT" dirty="0"/>
            <a:t>CONVOCAZIONE CANDIDATI</a:t>
          </a:r>
        </a:p>
      </dgm:t>
    </dgm:pt>
    <dgm:pt modelId="{D5841A78-CE91-4349-A4E8-79CA13B1C7AF}" type="parTrans" cxnId="{C230ABCB-8825-40AE-BD16-EFDCA6864A9C}">
      <dgm:prSet/>
      <dgm:spPr/>
      <dgm:t>
        <a:bodyPr/>
        <a:lstStyle/>
        <a:p>
          <a:endParaRPr lang="it-IT"/>
        </a:p>
      </dgm:t>
    </dgm:pt>
    <dgm:pt modelId="{AF2EC5CF-36C7-4860-990D-96C3499BF5BC}" type="sibTrans" cxnId="{C230ABCB-8825-40AE-BD16-EFDCA6864A9C}">
      <dgm:prSet/>
      <dgm:spPr/>
      <dgm:t>
        <a:bodyPr/>
        <a:lstStyle/>
        <a:p>
          <a:endParaRPr lang="it-IT"/>
        </a:p>
      </dgm:t>
    </dgm:pt>
    <dgm:pt modelId="{6A0E5063-7FA4-4BDF-BA35-975178665EDA}">
      <dgm:prSet/>
      <dgm:spPr/>
      <dgm:t>
        <a:bodyPr/>
        <a:lstStyle/>
        <a:p>
          <a:r>
            <a:rPr lang="it-IT" dirty="0"/>
            <a:t>NOMINA COMMISSIONE</a:t>
          </a:r>
        </a:p>
      </dgm:t>
    </dgm:pt>
    <dgm:pt modelId="{DECD1889-8F0D-4396-9C6B-AB488ACDCC4D}" type="parTrans" cxnId="{0D33164E-36E6-449B-AFD0-7E9777B64F2E}">
      <dgm:prSet/>
      <dgm:spPr/>
      <dgm:t>
        <a:bodyPr/>
        <a:lstStyle/>
        <a:p>
          <a:endParaRPr lang="it-IT"/>
        </a:p>
      </dgm:t>
    </dgm:pt>
    <dgm:pt modelId="{39345C65-ABBC-426D-A9EF-1C545594D1C8}" type="sibTrans" cxnId="{0D33164E-36E6-449B-AFD0-7E9777B64F2E}">
      <dgm:prSet/>
      <dgm:spPr/>
      <dgm:t>
        <a:bodyPr/>
        <a:lstStyle/>
        <a:p>
          <a:endParaRPr lang="it-IT"/>
        </a:p>
      </dgm:t>
    </dgm:pt>
    <dgm:pt modelId="{41CD0FC5-E160-4C2C-B4DE-AC54FF3EF463}">
      <dgm:prSet/>
      <dgm:spPr/>
      <dgm:t>
        <a:bodyPr/>
        <a:lstStyle/>
        <a:p>
          <a:r>
            <a:rPr lang="it-IT" dirty="0"/>
            <a:t>CONCORSO</a:t>
          </a:r>
        </a:p>
      </dgm:t>
    </dgm:pt>
    <dgm:pt modelId="{8B1E9363-1700-4943-849F-571489417329}" type="parTrans" cxnId="{F868F584-9767-4456-8B54-5D470F7F7E96}">
      <dgm:prSet/>
      <dgm:spPr/>
      <dgm:t>
        <a:bodyPr/>
        <a:lstStyle/>
        <a:p>
          <a:endParaRPr lang="it-IT"/>
        </a:p>
      </dgm:t>
    </dgm:pt>
    <dgm:pt modelId="{DB31AFE6-1820-428D-A18E-C6E959FD0D21}" type="sibTrans" cxnId="{F868F584-9767-4456-8B54-5D470F7F7E96}">
      <dgm:prSet/>
      <dgm:spPr/>
      <dgm:t>
        <a:bodyPr/>
        <a:lstStyle/>
        <a:p>
          <a:endParaRPr lang="it-IT"/>
        </a:p>
      </dgm:t>
    </dgm:pt>
    <dgm:pt modelId="{AA4D1BB5-47CF-4905-9576-0E69B22FDCF1}">
      <dgm:prSet/>
      <dgm:spPr/>
      <dgm:t>
        <a:bodyPr/>
        <a:lstStyle/>
        <a:p>
          <a:r>
            <a:rPr lang="it-IT" dirty="0"/>
            <a:t>VERIFICHE SUL CANTIERE</a:t>
          </a:r>
        </a:p>
      </dgm:t>
    </dgm:pt>
    <dgm:pt modelId="{631741A9-D175-430A-9294-645721A53968}" type="parTrans" cxnId="{DE234279-C01C-40B3-A098-498D82C3A71D}">
      <dgm:prSet/>
      <dgm:spPr/>
      <dgm:t>
        <a:bodyPr/>
        <a:lstStyle/>
        <a:p>
          <a:endParaRPr lang="it-IT"/>
        </a:p>
      </dgm:t>
    </dgm:pt>
    <dgm:pt modelId="{87EC657E-17D7-497B-A7F6-C3A6FA025262}" type="sibTrans" cxnId="{DE234279-C01C-40B3-A098-498D82C3A71D}">
      <dgm:prSet/>
      <dgm:spPr/>
      <dgm:t>
        <a:bodyPr/>
        <a:lstStyle/>
        <a:p>
          <a:endParaRPr lang="it-IT"/>
        </a:p>
      </dgm:t>
    </dgm:pt>
    <dgm:pt modelId="{7F664BCA-88C1-46A4-A920-D218D2B3E65D}">
      <dgm:prSet/>
      <dgm:spPr/>
      <dgm:t>
        <a:bodyPr/>
        <a:lstStyle/>
        <a:p>
          <a:r>
            <a:rPr lang="it-IT" dirty="0"/>
            <a:t>REDAZIONE SAL</a:t>
          </a:r>
        </a:p>
      </dgm:t>
    </dgm:pt>
    <dgm:pt modelId="{A363AFFE-9F1C-4DAE-9828-1D2B31C5FA89}" type="parTrans" cxnId="{B9C447AB-4378-4645-B872-CD54C4E0848A}">
      <dgm:prSet/>
      <dgm:spPr/>
      <dgm:t>
        <a:bodyPr/>
        <a:lstStyle/>
        <a:p>
          <a:endParaRPr lang="it-IT"/>
        </a:p>
      </dgm:t>
    </dgm:pt>
    <dgm:pt modelId="{0C93B9B0-912F-4BC7-AAFE-65D38CD89E67}" type="sibTrans" cxnId="{B9C447AB-4378-4645-B872-CD54C4E0848A}">
      <dgm:prSet/>
      <dgm:spPr/>
      <dgm:t>
        <a:bodyPr/>
        <a:lstStyle/>
        <a:p>
          <a:endParaRPr lang="it-IT"/>
        </a:p>
      </dgm:t>
    </dgm:pt>
    <dgm:pt modelId="{B7669C1E-3B29-4A81-90CC-DE6798B12F0A}">
      <dgm:prSet/>
      <dgm:spPr/>
      <dgm:t>
        <a:bodyPr/>
        <a:lstStyle/>
        <a:p>
          <a:r>
            <a:rPr lang="it-IT" dirty="0"/>
            <a:t>SOTTOSCRIZIONE STATO FINALE</a:t>
          </a:r>
        </a:p>
      </dgm:t>
    </dgm:pt>
    <dgm:pt modelId="{6A933B4B-8B8D-456C-970C-1A1DA83DE133}" type="parTrans" cxnId="{12182E27-D61D-4845-9717-E3C05DE1753F}">
      <dgm:prSet/>
      <dgm:spPr/>
      <dgm:t>
        <a:bodyPr/>
        <a:lstStyle/>
        <a:p>
          <a:endParaRPr lang="it-IT"/>
        </a:p>
      </dgm:t>
    </dgm:pt>
    <dgm:pt modelId="{500DC1C7-58E2-4963-AD97-37FE3B4C4336}" type="sibTrans" cxnId="{12182E27-D61D-4845-9717-E3C05DE1753F}">
      <dgm:prSet/>
      <dgm:spPr/>
      <dgm:t>
        <a:bodyPr/>
        <a:lstStyle/>
        <a:p>
          <a:endParaRPr lang="it-IT"/>
        </a:p>
      </dgm:t>
    </dgm:pt>
    <dgm:pt modelId="{0B119E02-88C2-4BBC-AF60-0C05F1088DAA}">
      <dgm:prSet/>
      <dgm:spPr/>
      <dgm:t>
        <a:bodyPr/>
        <a:lstStyle/>
        <a:p>
          <a:r>
            <a:rPr lang="it-IT" dirty="0"/>
            <a:t>CONSEGNA CANTIERE</a:t>
          </a:r>
        </a:p>
      </dgm:t>
    </dgm:pt>
    <dgm:pt modelId="{3EE9DBCE-1BD5-41A0-A19E-C9D02E85A8BE}" type="parTrans" cxnId="{9FF7078F-0CDF-4CE8-813B-03432F4B4487}">
      <dgm:prSet/>
      <dgm:spPr/>
      <dgm:t>
        <a:bodyPr/>
        <a:lstStyle/>
        <a:p>
          <a:endParaRPr lang="it-IT"/>
        </a:p>
      </dgm:t>
    </dgm:pt>
    <dgm:pt modelId="{B88C95D1-526C-4D33-AB93-9DA959060742}" type="sibTrans" cxnId="{9FF7078F-0CDF-4CE8-813B-03432F4B4487}">
      <dgm:prSet/>
      <dgm:spPr/>
      <dgm:t>
        <a:bodyPr/>
        <a:lstStyle/>
        <a:p>
          <a:endParaRPr lang="it-IT"/>
        </a:p>
      </dgm:t>
    </dgm:pt>
    <dgm:pt modelId="{782B8E51-90F2-476A-8B3E-85BF9B0B4748}">
      <dgm:prSet/>
      <dgm:spPr/>
      <dgm:t>
        <a:bodyPr/>
        <a:lstStyle/>
        <a:p>
          <a:r>
            <a:rPr lang="it-IT" dirty="0"/>
            <a:t>CORSI DI FORMAZIONE PERSONALE</a:t>
          </a:r>
        </a:p>
      </dgm:t>
    </dgm:pt>
    <dgm:pt modelId="{1AC0E152-FB76-487B-8776-1FA62AE139E5}" type="parTrans" cxnId="{AD832EFB-52F4-463B-9FB1-A651FFF28D76}">
      <dgm:prSet/>
      <dgm:spPr/>
      <dgm:t>
        <a:bodyPr/>
        <a:lstStyle/>
        <a:p>
          <a:endParaRPr lang="it-IT"/>
        </a:p>
      </dgm:t>
    </dgm:pt>
    <dgm:pt modelId="{E394DFDC-5820-4CAB-833E-9249A5AC50C5}" type="sibTrans" cxnId="{AD832EFB-52F4-463B-9FB1-A651FFF28D76}">
      <dgm:prSet/>
      <dgm:spPr/>
      <dgm:t>
        <a:bodyPr/>
        <a:lstStyle/>
        <a:p>
          <a:endParaRPr lang="it-IT"/>
        </a:p>
      </dgm:t>
    </dgm:pt>
    <dgm:pt modelId="{AE2AFAD9-9944-4D01-9983-A7AE0D499C20}">
      <dgm:prSet/>
      <dgm:spPr/>
      <dgm:t>
        <a:bodyPr/>
        <a:lstStyle/>
        <a:p>
          <a:r>
            <a:rPr lang="it-IT" dirty="0"/>
            <a:t>PIANIFICAZIONE CONTENUTO, LUOGHI, TEMPI, PARTECIPANTI</a:t>
          </a:r>
        </a:p>
      </dgm:t>
    </dgm:pt>
    <dgm:pt modelId="{DFD1957C-3EEF-4EDA-86F9-1C950BD33CDC}" type="parTrans" cxnId="{C00487B6-F041-4A1D-9CC0-578E028C62FB}">
      <dgm:prSet/>
      <dgm:spPr/>
      <dgm:t>
        <a:bodyPr/>
        <a:lstStyle/>
        <a:p>
          <a:endParaRPr lang="it-IT"/>
        </a:p>
      </dgm:t>
    </dgm:pt>
    <dgm:pt modelId="{5C588E0A-8F1E-4336-A9B5-89C1F6BA359A}" type="sibTrans" cxnId="{C00487B6-F041-4A1D-9CC0-578E028C62FB}">
      <dgm:prSet/>
      <dgm:spPr/>
      <dgm:t>
        <a:bodyPr/>
        <a:lstStyle/>
        <a:p>
          <a:endParaRPr lang="it-IT"/>
        </a:p>
      </dgm:t>
    </dgm:pt>
    <dgm:pt modelId="{13801BF3-25EF-4E22-8F01-53E8E075284D}">
      <dgm:prSet/>
      <dgm:spPr/>
      <dgm:t>
        <a:bodyPr/>
        <a:lstStyle/>
        <a:p>
          <a:r>
            <a:rPr lang="it-IT" dirty="0"/>
            <a:t>COMUNICAZIONE VERSO L’INTERNO E VERSO L’ESTERNO</a:t>
          </a:r>
        </a:p>
      </dgm:t>
    </dgm:pt>
    <dgm:pt modelId="{4861C26A-24B4-4408-856E-A8599351EA73}" type="parTrans" cxnId="{F2E9C324-1CED-44E2-8D59-40F093B9261D}">
      <dgm:prSet/>
      <dgm:spPr/>
      <dgm:t>
        <a:bodyPr/>
        <a:lstStyle/>
        <a:p>
          <a:endParaRPr lang="it-IT"/>
        </a:p>
      </dgm:t>
    </dgm:pt>
    <dgm:pt modelId="{EAC7D945-9A51-45D8-988E-48C52AC5C487}" type="sibTrans" cxnId="{F2E9C324-1CED-44E2-8D59-40F093B9261D}">
      <dgm:prSet/>
      <dgm:spPr/>
      <dgm:t>
        <a:bodyPr/>
        <a:lstStyle/>
        <a:p>
          <a:endParaRPr lang="it-IT"/>
        </a:p>
      </dgm:t>
    </dgm:pt>
    <dgm:pt modelId="{24B39971-3E25-4005-BE34-740B44BB0090}">
      <dgm:prSet/>
      <dgm:spPr/>
      <dgm:t>
        <a:bodyPr/>
        <a:lstStyle/>
        <a:p>
          <a:r>
            <a:rPr lang="it-IT" dirty="0"/>
            <a:t>ESECUZIONE CORSI</a:t>
          </a:r>
        </a:p>
      </dgm:t>
    </dgm:pt>
    <dgm:pt modelId="{1BF97D28-CB1B-4CFA-911F-AF7B7EF736BC}" type="parTrans" cxnId="{70773E80-7B0A-4F57-AAA8-8E8E1FAC644D}">
      <dgm:prSet/>
      <dgm:spPr/>
      <dgm:t>
        <a:bodyPr/>
        <a:lstStyle/>
        <a:p>
          <a:endParaRPr lang="it-IT"/>
        </a:p>
      </dgm:t>
    </dgm:pt>
    <dgm:pt modelId="{CDE64526-DA98-4E0B-8E0E-8ECF10A3ADC1}" type="sibTrans" cxnId="{70773E80-7B0A-4F57-AAA8-8E8E1FAC644D}">
      <dgm:prSet/>
      <dgm:spPr/>
      <dgm:t>
        <a:bodyPr/>
        <a:lstStyle/>
        <a:p>
          <a:endParaRPr lang="it-IT"/>
        </a:p>
      </dgm:t>
    </dgm:pt>
    <dgm:pt modelId="{69F64FB5-350C-4155-AF65-1174C58BC43D}">
      <dgm:prSet/>
      <dgm:spPr/>
      <dgm:t>
        <a:bodyPr/>
        <a:lstStyle/>
        <a:p>
          <a:r>
            <a:rPr lang="it-IT" dirty="0"/>
            <a:t>RIQUALIFICAZIONE PERSONALE</a:t>
          </a:r>
        </a:p>
      </dgm:t>
    </dgm:pt>
    <dgm:pt modelId="{95B3B508-8F96-4CDE-93FB-52382D1C9D22}" type="parTrans" cxnId="{F2522852-A7EE-402C-BA40-8876F8A455EC}">
      <dgm:prSet/>
      <dgm:spPr/>
      <dgm:t>
        <a:bodyPr/>
        <a:lstStyle/>
        <a:p>
          <a:endParaRPr lang="it-IT"/>
        </a:p>
      </dgm:t>
    </dgm:pt>
    <dgm:pt modelId="{082C2FF8-F155-42FB-8947-DAC488022B02}" type="sibTrans" cxnId="{F2522852-A7EE-402C-BA40-8876F8A455EC}">
      <dgm:prSet/>
      <dgm:spPr/>
      <dgm:t>
        <a:bodyPr/>
        <a:lstStyle/>
        <a:p>
          <a:endParaRPr lang="it-IT"/>
        </a:p>
      </dgm:t>
    </dgm:pt>
    <dgm:pt modelId="{B932AAA4-9CCB-4F4B-B281-72F5D1E6CD4C}">
      <dgm:prSet/>
      <dgm:spPr/>
      <dgm:t>
        <a:bodyPr/>
        <a:lstStyle/>
        <a:p>
          <a:r>
            <a:rPr lang="it-IT" dirty="0"/>
            <a:t>RIUNIONI CON STAKEHOLDER</a:t>
          </a:r>
        </a:p>
      </dgm:t>
    </dgm:pt>
    <dgm:pt modelId="{B6619F60-FC83-413A-930C-79FA4958A5AE}" type="parTrans" cxnId="{CD03B6FC-AB53-439E-A8C7-7EE501C62294}">
      <dgm:prSet/>
      <dgm:spPr/>
      <dgm:t>
        <a:bodyPr/>
        <a:lstStyle/>
        <a:p>
          <a:endParaRPr lang="it-IT"/>
        </a:p>
      </dgm:t>
    </dgm:pt>
    <dgm:pt modelId="{5D859483-C7C8-4D13-B54A-190E85B811AD}" type="sibTrans" cxnId="{CD03B6FC-AB53-439E-A8C7-7EE501C62294}">
      <dgm:prSet/>
      <dgm:spPr/>
      <dgm:t>
        <a:bodyPr/>
        <a:lstStyle/>
        <a:p>
          <a:endParaRPr lang="it-IT"/>
        </a:p>
      </dgm:t>
    </dgm:pt>
    <dgm:pt modelId="{32EE5D1F-4263-4695-86B6-CC42DACEB03D}">
      <dgm:prSet/>
      <dgm:spPr/>
      <dgm:t>
        <a:bodyPr/>
        <a:lstStyle/>
        <a:p>
          <a:r>
            <a:rPr lang="it-IT" dirty="0"/>
            <a:t>PUBBLICAZIONI SU SITO ISTITUZIONALE</a:t>
          </a:r>
        </a:p>
      </dgm:t>
    </dgm:pt>
    <dgm:pt modelId="{9A30EADD-2247-4721-8F6B-950C570F2744}" type="parTrans" cxnId="{D2564E37-2B10-42F4-AB47-28CD01034027}">
      <dgm:prSet/>
      <dgm:spPr/>
      <dgm:t>
        <a:bodyPr/>
        <a:lstStyle/>
        <a:p>
          <a:endParaRPr lang="it-IT"/>
        </a:p>
      </dgm:t>
    </dgm:pt>
    <dgm:pt modelId="{C0A9B8A5-AF5B-4079-A4D8-6C447D4F1A6C}" type="sibTrans" cxnId="{D2564E37-2B10-42F4-AB47-28CD01034027}">
      <dgm:prSet/>
      <dgm:spPr/>
      <dgm:t>
        <a:bodyPr/>
        <a:lstStyle/>
        <a:p>
          <a:endParaRPr lang="it-IT"/>
        </a:p>
      </dgm:t>
    </dgm:pt>
    <dgm:pt modelId="{D5B09AC0-CDBB-40C9-8DB4-195C3CD4B6C5}">
      <dgm:prSet/>
      <dgm:spPr/>
      <dgm:t>
        <a:bodyPr/>
        <a:lstStyle/>
        <a:p>
          <a:r>
            <a:rPr lang="it-IT" dirty="0"/>
            <a:t>COMUNICATI STAMPA</a:t>
          </a:r>
        </a:p>
      </dgm:t>
    </dgm:pt>
    <dgm:pt modelId="{1377C183-4FF5-4471-A832-005F9B314953}" type="parTrans" cxnId="{6C48975E-2BF2-4292-A964-E2387CBAA220}">
      <dgm:prSet/>
      <dgm:spPr/>
      <dgm:t>
        <a:bodyPr/>
        <a:lstStyle/>
        <a:p>
          <a:endParaRPr lang="it-IT"/>
        </a:p>
      </dgm:t>
    </dgm:pt>
    <dgm:pt modelId="{8FB01A2F-44DE-4DAE-9B1F-7A4FCC021EA8}" type="sibTrans" cxnId="{6C48975E-2BF2-4292-A964-E2387CBAA220}">
      <dgm:prSet/>
      <dgm:spPr/>
      <dgm:t>
        <a:bodyPr/>
        <a:lstStyle/>
        <a:p>
          <a:endParaRPr lang="it-IT"/>
        </a:p>
      </dgm:t>
    </dgm:pt>
    <dgm:pt modelId="{56310A41-C6AB-4133-895D-68DBA65313D9}">
      <dgm:prSet/>
      <dgm:spPr/>
      <dgm:t>
        <a:bodyPr/>
        <a:lstStyle/>
        <a:p>
          <a:r>
            <a:rPr lang="it-IT" dirty="0"/>
            <a:t>OPUSCOLI PUBBLICITARI</a:t>
          </a:r>
        </a:p>
      </dgm:t>
    </dgm:pt>
    <dgm:pt modelId="{D82B777A-0D0D-46C7-A1F4-16D87B77FFEC}" type="parTrans" cxnId="{8AF578BB-D591-478A-A539-0E27CB01F37F}">
      <dgm:prSet/>
      <dgm:spPr/>
      <dgm:t>
        <a:bodyPr/>
        <a:lstStyle/>
        <a:p>
          <a:endParaRPr lang="it-IT"/>
        </a:p>
      </dgm:t>
    </dgm:pt>
    <dgm:pt modelId="{D45B67CB-61D9-4243-B4AC-59B10C1A05C6}" type="sibTrans" cxnId="{8AF578BB-D591-478A-A539-0E27CB01F37F}">
      <dgm:prSet/>
      <dgm:spPr/>
      <dgm:t>
        <a:bodyPr/>
        <a:lstStyle/>
        <a:p>
          <a:endParaRPr lang="it-IT"/>
        </a:p>
      </dgm:t>
    </dgm:pt>
    <dgm:pt modelId="{0CED6C15-1093-4AD9-92D3-372F54DB911C}">
      <dgm:prSet/>
      <dgm:spPr/>
      <dgm:t>
        <a:bodyPr/>
        <a:lstStyle/>
        <a:p>
          <a:r>
            <a:rPr lang="it-IT" dirty="0"/>
            <a:t>SEMESTRALE ARTE INFORMA</a:t>
          </a:r>
        </a:p>
      </dgm:t>
    </dgm:pt>
    <dgm:pt modelId="{1AE6CD79-4A93-4098-B8E9-07EEB337952E}" type="parTrans" cxnId="{8F6F946A-6627-4A02-9FE0-4CB0E8AEE430}">
      <dgm:prSet/>
      <dgm:spPr/>
      <dgm:t>
        <a:bodyPr/>
        <a:lstStyle/>
        <a:p>
          <a:endParaRPr lang="it-IT"/>
        </a:p>
      </dgm:t>
    </dgm:pt>
    <dgm:pt modelId="{53A330A1-5695-4C4F-8225-07779CE395D4}" type="sibTrans" cxnId="{8F6F946A-6627-4A02-9FE0-4CB0E8AEE430}">
      <dgm:prSet/>
      <dgm:spPr/>
      <dgm:t>
        <a:bodyPr/>
        <a:lstStyle/>
        <a:p>
          <a:endParaRPr lang="it-IT"/>
        </a:p>
      </dgm:t>
    </dgm:pt>
    <dgm:pt modelId="{792C1470-D840-4C12-AF84-F8FE39630629}">
      <dgm:prSet/>
      <dgm:spPr/>
      <dgm:t>
        <a:bodyPr/>
        <a:lstStyle/>
        <a:p>
          <a:r>
            <a:rPr lang="it-IT" dirty="0"/>
            <a:t>COLLAUDO</a:t>
          </a:r>
        </a:p>
      </dgm:t>
    </dgm:pt>
    <dgm:pt modelId="{DD189E00-BB77-4DBC-A91D-CCFB826A9350}" type="parTrans" cxnId="{282841F2-865F-491C-956D-7BC5BAD270ED}">
      <dgm:prSet/>
      <dgm:spPr/>
    </dgm:pt>
    <dgm:pt modelId="{D6D998B3-2192-4083-B2DA-AFA15A4594B9}" type="sibTrans" cxnId="{282841F2-865F-491C-956D-7BC5BAD270ED}">
      <dgm:prSet/>
      <dgm:spPr/>
    </dgm:pt>
    <dgm:pt modelId="{CA638CDE-9F8D-4E6E-AFAB-25AF89218C08}" type="pres">
      <dgm:prSet presAssocID="{2D249B44-E216-49FD-88CB-FF72677A8A29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AF45A1BA-2C73-4C19-94B6-DF2A69A1A3DF}" type="pres">
      <dgm:prSet presAssocID="{E6552B51-F25D-4726-9EF3-9BAB070DCB57}" presName="root" presStyleCnt="0"/>
      <dgm:spPr/>
    </dgm:pt>
    <dgm:pt modelId="{513702B6-6D11-418F-A1E5-D486EE8EEE38}" type="pres">
      <dgm:prSet presAssocID="{E6552B51-F25D-4726-9EF3-9BAB070DCB57}" presName="rootComposite" presStyleCnt="0"/>
      <dgm:spPr/>
    </dgm:pt>
    <dgm:pt modelId="{75AE63B5-7CD3-4C70-B57F-C36ABE19D8E6}" type="pres">
      <dgm:prSet presAssocID="{E6552B51-F25D-4726-9EF3-9BAB070DCB57}" presName="rootText" presStyleLbl="node1" presStyleIdx="0" presStyleCnt="7"/>
      <dgm:spPr/>
    </dgm:pt>
    <dgm:pt modelId="{626EF8ED-E427-4FA4-8BAF-1DC7EB9FE818}" type="pres">
      <dgm:prSet presAssocID="{E6552B51-F25D-4726-9EF3-9BAB070DCB57}" presName="rootConnector" presStyleLbl="node1" presStyleIdx="0" presStyleCnt="7"/>
      <dgm:spPr/>
    </dgm:pt>
    <dgm:pt modelId="{9A5CCDD6-AD9F-472B-958D-660718613EE3}" type="pres">
      <dgm:prSet presAssocID="{E6552B51-F25D-4726-9EF3-9BAB070DCB57}" presName="childShape" presStyleCnt="0"/>
      <dgm:spPr/>
    </dgm:pt>
    <dgm:pt modelId="{23C12378-C5F6-4C2D-9CC4-EE18FF5C23CD}" type="pres">
      <dgm:prSet presAssocID="{367508C5-41C6-4C36-B107-85694AD01FB2}" presName="Name13" presStyleLbl="parChTrans1D2" presStyleIdx="0" presStyleCnt="35"/>
      <dgm:spPr/>
    </dgm:pt>
    <dgm:pt modelId="{D45D9E4D-A31F-405D-BB5B-B79286EF9EAA}" type="pres">
      <dgm:prSet presAssocID="{41D62ACA-9362-487E-A4A7-C00B8FB61CB3}" presName="childText" presStyleLbl="bgAcc1" presStyleIdx="0" presStyleCnt="35">
        <dgm:presLayoutVars>
          <dgm:bulletEnabled val="1"/>
        </dgm:presLayoutVars>
      </dgm:prSet>
      <dgm:spPr/>
    </dgm:pt>
    <dgm:pt modelId="{B3326C00-9B5C-4143-8A65-0F09AEDFDB71}" type="pres">
      <dgm:prSet presAssocID="{66647D8D-DC0D-4044-917A-0DC11F601CB8}" presName="Name13" presStyleLbl="parChTrans1D2" presStyleIdx="1" presStyleCnt="35"/>
      <dgm:spPr/>
    </dgm:pt>
    <dgm:pt modelId="{2CC1CA2F-CD36-44F9-A33E-D4B009350723}" type="pres">
      <dgm:prSet presAssocID="{DA2CCD33-6043-4C82-8486-3EC787FB0C7E}" presName="childText" presStyleLbl="bgAcc1" presStyleIdx="1" presStyleCnt="35">
        <dgm:presLayoutVars>
          <dgm:bulletEnabled val="1"/>
        </dgm:presLayoutVars>
      </dgm:prSet>
      <dgm:spPr/>
    </dgm:pt>
    <dgm:pt modelId="{36B8ABE4-F642-40FC-866F-A8C98F84D8E2}" type="pres">
      <dgm:prSet presAssocID="{F161A7B4-5F00-479F-BC34-9FED1C5CA5F1}" presName="Name13" presStyleLbl="parChTrans1D2" presStyleIdx="2" presStyleCnt="35"/>
      <dgm:spPr/>
    </dgm:pt>
    <dgm:pt modelId="{0848BA92-5848-4591-B8D7-13EEE889DFAC}" type="pres">
      <dgm:prSet presAssocID="{E261C6E2-0898-4B04-8FF0-DD6E71FB8351}" presName="childText" presStyleLbl="bgAcc1" presStyleIdx="2" presStyleCnt="35">
        <dgm:presLayoutVars>
          <dgm:bulletEnabled val="1"/>
        </dgm:presLayoutVars>
      </dgm:prSet>
      <dgm:spPr/>
    </dgm:pt>
    <dgm:pt modelId="{065E05F3-0CAB-4AB7-9CB5-34C405F21307}" type="pres">
      <dgm:prSet presAssocID="{B2B155F1-871D-4AC1-9D11-7031A6419A09}" presName="Name13" presStyleLbl="parChTrans1D2" presStyleIdx="3" presStyleCnt="35"/>
      <dgm:spPr/>
    </dgm:pt>
    <dgm:pt modelId="{F7063A13-6F2A-4032-83CE-0CBFE825450D}" type="pres">
      <dgm:prSet presAssocID="{8CA6824D-13E5-4727-9D22-C7182F7B6E95}" presName="childText" presStyleLbl="bgAcc1" presStyleIdx="3" presStyleCnt="35">
        <dgm:presLayoutVars>
          <dgm:bulletEnabled val="1"/>
        </dgm:presLayoutVars>
      </dgm:prSet>
      <dgm:spPr/>
    </dgm:pt>
    <dgm:pt modelId="{B9BF76DD-4111-422C-96C9-72E6B7FD553A}" type="pres">
      <dgm:prSet presAssocID="{77FC3955-5FBA-480A-B01E-E4328EB4CC97}" presName="Name13" presStyleLbl="parChTrans1D2" presStyleIdx="4" presStyleCnt="35"/>
      <dgm:spPr/>
    </dgm:pt>
    <dgm:pt modelId="{9CB0BBE8-B049-4A16-BA5F-F3F4806BE9BF}" type="pres">
      <dgm:prSet presAssocID="{DF8FA407-BD98-477B-B59C-D8006775846C}" presName="childText" presStyleLbl="bgAcc1" presStyleIdx="4" presStyleCnt="35">
        <dgm:presLayoutVars>
          <dgm:bulletEnabled val="1"/>
        </dgm:presLayoutVars>
      </dgm:prSet>
      <dgm:spPr/>
    </dgm:pt>
    <dgm:pt modelId="{42AAE9D3-C5AF-462D-959E-EF5871DF43DA}" type="pres">
      <dgm:prSet presAssocID="{95121803-847C-4B35-A405-223493501FB6}" presName="Name13" presStyleLbl="parChTrans1D2" presStyleIdx="5" presStyleCnt="35"/>
      <dgm:spPr/>
    </dgm:pt>
    <dgm:pt modelId="{46EA9A53-937B-4589-92FC-05A4A07D6F2C}" type="pres">
      <dgm:prSet presAssocID="{BABD5779-F68E-4DF4-B531-E5DEE2DDF44D}" presName="childText" presStyleLbl="bgAcc1" presStyleIdx="5" presStyleCnt="35">
        <dgm:presLayoutVars>
          <dgm:bulletEnabled val="1"/>
        </dgm:presLayoutVars>
      </dgm:prSet>
      <dgm:spPr/>
    </dgm:pt>
    <dgm:pt modelId="{37E2F362-8002-4DE7-8E55-7E5AF8A0A854}" type="pres">
      <dgm:prSet presAssocID="{492B5CE9-B648-4336-8BED-E226EF2B21D9}" presName="root" presStyleCnt="0"/>
      <dgm:spPr/>
    </dgm:pt>
    <dgm:pt modelId="{B0C5AA94-9842-4BE4-9584-7FBF40BC59FC}" type="pres">
      <dgm:prSet presAssocID="{492B5CE9-B648-4336-8BED-E226EF2B21D9}" presName="rootComposite" presStyleCnt="0"/>
      <dgm:spPr/>
    </dgm:pt>
    <dgm:pt modelId="{BBABD7EE-A217-4053-97D8-1EDBCC2CB40E}" type="pres">
      <dgm:prSet presAssocID="{492B5CE9-B648-4336-8BED-E226EF2B21D9}" presName="rootText" presStyleLbl="node1" presStyleIdx="1" presStyleCnt="7"/>
      <dgm:spPr/>
    </dgm:pt>
    <dgm:pt modelId="{937A70E4-8D07-4384-BE76-574EFF44B0C4}" type="pres">
      <dgm:prSet presAssocID="{492B5CE9-B648-4336-8BED-E226EF2B21D9}" presName="rootConnector" presStyleLbl="node1" presStyleIdx="1" presStyleCnt="7"/>
      <dgm:spPr/>
    </dgm:pt>
    <dgm:pt modelId="{E4ABDD8C-A87E-471C-9BE0-6B858469838B}" type="pres">
      <dgm:prSet presAssocID="{492B5CE9-B648-4336-8BED-E226EF2B21D9}" presName="childShape" presStyleCnt="0"/>
      <dgm:spPr/>
    </dgm:pt>
    <dgm:pt modelId="{4C873FA2-F743-44CC-B3F8-20AB4B9DD391}" type="pres">
      <dgm:prSet presAssocID="{616269A1-6056-44D8-B2AE-D7C19FAB07A3}" presName="Name13" presStyleLbl="parChTrans1D2" presStyleIdx="6" presStyleCnt="35"/>
      <dgm:spPr/>
    </dgm:pt>
    <dgm:pt modelId="{AEB5F4F3-0273-4223-AC74-BE84CF3AC012}" type="pres">
      <dgm:prSet presAssocID="{61752EC5-44ED-4D0C-995D-FF508C1863A7}" presName="childText" presStyleLbl="bgAcc1" presStyleIdx="6" presStyleCnt="35">
        <dgm:presLayoutVars>
          <dgm:bulletEnabled val="1"/>
        </dgm:presLayoutVars>
      </dgm:prSet>
      <dgm:spPr/>
    </dgm:pt>
    <dgm:pt modelId="{51586B9C-85FB-4899-B4FF-F205C0BBA3F0}" type="pres">
      <dgm:prSet presAssocID="{AD1DCA32-722F-4931-815D-3B919CFE2578}" presName="Name13" presStyleLbl="parChTrans1D2" presStyleIdx="7" presStyleCnt="35"/>
      <dgm:spPr/>
    </dgm:pt>
    <dgm:pt modelId="{35FA5C41-A6BF-45CE-8E73-B7448D607955}" type="pres">
      <dgm:prSet presAssocID="{74C654ED-D8E2-4135-9DB5-7A43ED517377}" presName="childText" presStyleLbl="bgAcc1" presStyleIdx="7" presStyleCnt="35">
        <dgm:presLayoutVars>
          <dgm:bulletEnabled val="1"/>
        </dgm:presLayoutVars>
      </dgm:prSet>
      <dgm:spPr/>
    </dgm:pt>
    <dgm:pt modelId="{81A64861-5A27-4003-9446-57357989A322}" type="pres">
      <dgm:prSet presAssocID="{23775CFB-2636-404A-9B62-DE21D380F3DD}" presName="Name13" presStyleLbl="parChTrans1D2" presStyleIdx="8" presStyleCnt="35"/>
      <dgm:spPr/>
    </dgm:pt>
    <dgm:pt modelId="{E14A8FD6-FD46-4170-B83B-12168BE92AAC}" type="pres">
      <dgm:prSet presAssocID="{5A5F63CC-451C-4BD9-97AA-3FB79703932A}" presName="childText" presStyleLbl="bgAcc1" presStyleIdx="8" presStyleCnt="35">
        <dgm:presLayoutVars>
          <dgm:bulletEnabled val="1"/>
        </dgm:presLayoutVars>
      </dgm:prSet>
      <dgm:spPr/>
    </dgm:pt>
    <dgm:pt modelId="{6E66D4B2-96A1-400C-AC52-000FCD4EF449}" type="pres">
      <dgm:prSet presAssocID="{6ED41BFA-5248-4143-B8A0-537BF4B15B15}" presName="Name13" presStyleLbl="parChTrans1D2" presStyleIdx="9" presStyleCnt="35"/>
      <dgm:spPr/>
    </dgm:pt>
    <dgm:pt modelId="{FEAA0338-DBD3-4B8E-B3E0-949D36D41AFF}" type="pres">
      <dgm:prSet presAssocID="{07AC2D91-772B-40DC-9488-E006AEE763D6}" presName="childText" presStyleLbl="bgAcc1" presStyleIdx="9" presStyleCnt="35">
        <dgm:presLayoutVars>
          <dgm:bulletEnabled val="1"/>
        </dgm:presLayoutVars>
      </dgm:prSet>
      <dgm:spPr/>
    </dgm:pt>
    <dgm:pt modelId="{3D109573-63CC-4BB9-A61D-3FB83E33B3BA}" type="pres">
      <dgm:prSet presAssocID="{21CB2745-3FDC-4C68-B838-8F08FE376801}" presName="root" presStyleCnt="0"/>
      <dgm:spPr/>
    </dgm:pt>
    <dgm:pt modelId="{A3563FC2-1F3A-475D-B565-C2AD0D7C6E98}" type="pres">
      <dgm:prSet presAssocID="{21CB2745-3FDC-4C68-B838-8F08FE376801}" presName="rootComposite" presStyleCnt="0"/>
      <dgm:spPr/>
    </dgm:pt>
    <dgm:pt modelId="{AF60D723-C84E-4783-A33B-18E76161C2D9}" type="pres">
      <dgm:prSet presAssocID="{21CB2745-3FDC-4C68-B838-8F08FE376801}" presName="rootText" presStyleLbl="node1" presStyleIdx="2" presStyleCnt="7" custLinFactNeighborX="-1758" custLinFactNeighborY="-455"/>
      <dgm:spPr/>
    </dgm:pt>
    <dgm:pt modelId="{32DF47F8-B772-4615-9BAE-343A4B772D4F}" type="pres">
      <dgm:prSet presAssocID="{21CB2745-3FDC-4C68-B838-8F08FE376801}" presName="rootConnector" presStyleLbl="node1" presStyleIdx="2" presStyleCnt="7"/>
      <dgm:spPr/>
    </dgm:pt>
    <dgm:pt modelId="{3FE760A7-36DB-4855-9122-F32DB507C973}" type="pres">
      <dgm:prSet presAssocID="{21CB2745-3FDC-4C68-B838-8F08FE376801}" presName="childShape" presStyleCnt="0"/>
      <dgm:spPr/>
    </dgm:pt>
    <dgm:pt modelId="{E1D911B7-DF78-4BF5-9787-0C3D10C179D2}" type="pres">
      <dgm:prSet presAssocID="{2B004A80-0B9E-4F48-954C-F9B45DFF1D07}" presName="Name13" presStyleLbl="parChTrans1D2" presStyleIdx="10" presStyleCnt="35"/>
      <dgm:spPr/>
    </dgm:pt>
    <dgm:pt modelId="{9D8B9369-19B6-4BCA-B5D9-347150C433E6}" type="pres">
      <dgm:prSet presAssocID="{B11BF6D4-CD18-41D5-B6A4-FDA07D571875}" presName="childText" presStyleLbl="bgAcc1" presStyleIdx="10" presStyleCnt="35">
        <dgm:presLayoutVars>
          <dgm:bulletEnabled val="1"/>
        </dgm:presLayoutVars>
      </dgm:prSet>
      <dgm:spPr/>
    </dgm:pt>
    <dgm:pt modelId="{93BF51D4-094B-4B6F-907E-9E7BBAC35BB7}" type="pres">
      <dgm:prSet presAssocID="{B8CA81BD-F6AE-431C-B3A3-A163F3BCBA81}" presName="Name13" presStyleLbl="parChTrans1D2" presStyleIdx="11" presStyleCnt="35"/>
      <dgm:spPr/>
    </dgm:pt>
    <dgm:pt modelId="{584D0DAC-9003-4843-A5AC-1A4155676E0B}" type="pres">
      <dgm:prSet presAssocID="{3D00D393-43AB-41E5-B06D-AF0E5DB55A74}" presName="childText" presStyleLbl="bgAcc1" presStyleIdx="11" presStyleCnt="35">
        <dgm:presLayoutVars>
          <dgm:bulletEnabled val="1"/>
        </dgm:presLayoutVars>
      </dgm:prSet>
      <dgm:spPr/>
    </dgm:pt>
    <dgm:pt modelId="{475FBF9B-0A2F-4D0E-963A-71ABB28D1BAF}" type="pres">
      <dgm:prSet presAssocID="{F384E1A6-6BCC-405C-8CB6-60BF087CC941}" presName="Name13" presStyleLbl="parChTrans1D2" presStyleIdx="12" presStyleCnt="35"/>
      <dgm:spPr/>
    </dgm:pt>
    <dgm:pt modelId="{8690BF67-E076-49D6-8A9D-AFDB9B75AE72}" type="pres">
      <dgm:prSet presAssocID="{891271CD-28A8-474B-A42E-D7D98ED0A0B7}" presName="childText" presStyleLbl="bgAcc1" presStyleIdx="12" presStyleCnt="35">
        <dgm:presLayoutVars>
          <dgm:bulletEnabled val="1"/>
        </dgm:presLayoutVars>
      </dgm:prSet>
      <dgm:spPr/>
    </dgm:pt>
    <dgm:pt modelId="{4B9C3C19-2230-4B6D-840B-61BCDC05BAB1}" type="pres">
      <dgm:prSet presAssocID="{5716DA5A-F06B-4EFE-B44D-DEF9D1744688}" presName="Name13" presStyleLbl="parChTrans1D2" presStyleIdx="13" presStyleCnt="35"/>
      <dgm:spPr/>
    </dgm:pt>
    <dgm:pt modelId="{3956F642-C0CD-413E-A5BE-E9A1040B8205}" type="pres">
      <dgm:prSet presAssocID="{544D5456-B19C-4E98-8194-DE90182DD09F}" presName="childText" presStyleLbl="bgAcc1" presStyleIdx="13" presStyleCnt="35">
        <dgm:presLayoutVars>
          <dgm:bulletEnabled val="1"/>
        </dgm:presLayoutVars>
      </dgm:prSet>
      <dgm:spPr/>
    </dgm:pt>
    <dgm:pt modelId="{448C27D1-6316-465E-A028-1B6090D06F1D}" type="pres">
      <dgm:prSet presAssocID="{22FB6D4B-5380-4471-9FB9-6CB1C63F1503}" presName="Name13" presStyleLbl="parChTrans1D2" presStyleIdx="14" presStyleCnt="35"/>
      <dgm:spPr/>
    </dgm:pt>
    <dgm:pt modelId="{17586BDB-3108-46FA-A1F5-BE881CF13E80}" type="pres">
      <dgm:prSet presAssocID="{9B3A9664-5430-4EE0-824E-C41FD15F1F9A}" presName="childText" presStyleLbl="bgAcc1" presStyleIdx="14" presStyleCnt="35">
        <dgm:presLayoutVars>
          <dgm:bulletEnabled val="1"/>
        </dgm:presLayoutVars>
      </dgm:prSet>
      <dgm:spPr/>
    </dgm:pt>
    <dgm:pt modelId="{CD9930CB-6141-478C-95A5-8F101DAB5B7A}" type="pres">
      <dgm:prSet presAssocID="{550E467F-735A-4F49-A3C4-3063AC6F4A31}" presName="Name13" presStyleLbl="parChTrans1D2" presStyleIdx="15" presStyleCnt="35"/>
      <dgm:spPr/>
    </dgm:pt>
    <dgm:pt modelId="{5C5C61A1-E544-480E-BEC3-ABD85E08B779}" type="pres">
      <dgm:prSet presAssocID="{BEF0CFD9-ECD2-48EB-8FEB-8163A43992C7}" presName="childText" presStyleLbl="bgAcc1" presStyleIdx="15" presStyleCnt="35">
        <dgm:presLayoutVars>
          <dgm:bulletEnabled val="1"/>
        </dgm:presLayoutVars>
      </dgm:prSet>
      <dgm:spPr/>
    </dgm:pt>
    <dgm:pt modelId="{4449AE7D-CFB6-4B11-9CBA-7551877921A5}" type="pres">
      <dgm:prSet presAssocID="{A88B2F79-1DEA-46FB-A4AE-9E398432E130}" presName="root" presStyleCnt="0"/>
      <dgm:spPr/>
    </dgm:pt>
    <dgm:pt modelId="{DC159060-9AFD-408D-8BC2-57DBAD011F89}" type="pres">
      <dgm:prSet presAssocID="{A88B2F79-1DEA-46FB-A4AE-9E398432E130}" presName="rootComposite" presStyleCnt="0"/>
      <dgm:spPr/>
    </dgm:pt>
    <dgm:pt modelId="{A2240285-9A50-4614-82C8-070A63EC9045}" type="pres">
      <dgm:prSet presAssocID="{A88B2F79-1DEA-46FB-A4AE-9E398432E130}" presName="rootText" presStyleLbl="node1" presStyleIdx="3" presStyleCnt="7"/>
      <dgm:spPr/>
    </dgm:pt>
    <dgm:pt modelId="{D79548CE-D6A0-4E4B-B1A5-BC45CC9EF975}" type="pres">
      <dgm:prSet presAssocID="{A88B2F79-1DEA-46FB-A4AE-9E398432E130}" presName="rootConnector" presStyleLbl="node1" presStyleIdx="3" presStyleCnt="7"/>
      <dgm:spPr/>
    </dgm:pt>
    <dgm:pt modelId="{6039936D-6EFB-4D41-9BBD-61E3CDA2FEF8}" type="pres">
      <dgm:prSet presAssocID="{A88B2F79-1DEA-46FB-A4AE-9E398432E130}" presName="childShape" presStyleCnt="0"/>
      <dgm:spPr/>
    </dgm:pt>
    <dgm:pt modelId="{274DE616-B393-4E2F-8106-B3AE501CA4C7}" type="pres">
      <dgm:prSet presAssocID="{A2537A63-9B8C-48FA-9E81-07A978A7CD90}" presName="Name13" presStyleLbl="parChTrans1D2" presStyleIdx="16" presStyleCnt="35"/>
      <dgm:spPr/>
    </dgm:pt>
    <dgm:pt modelId="{EC362925-EFC7-4FBC-88A0-8AD984837F25}" type="pres">
      <dgm:prSet presAssocID="{D075FEE2-0523-437D-87A3-32EEAB8896E9}" presName="childText" presStyleLbl="bgAcc1" presStyleIdx="16" presStyleCnt="35">
        <dgm:presLayoutVars>
          <dgm:bulletEnabled val="1"/>
        </dgm:presLayoutVars>
      </dgm:prSet>
      <dgm:spPr/>
    </dgm:pt>
    <dgm:pt modelId="{E41256D4-B435-4CE1-8D8C-1B8775D9501E}" type="pres">
      <dgm:prSet presAssocID="{C6035ECB-FEC8-4603-B834-94E473ED7729}" presName="Name13" presStyleLbl="parChTrans1D2" presStyleIdx="17" presStyleCnt="35"/>
      <dgm:spPr/>
    </dgm:pt>
    <dgm:pt modelId="{72F4A89F-4175-490F-9DEC-663D31990162}" type="pres">
      <dgm:prSet presAssocID="{3CDECE3D-ABF5-4972-A63A-92D8CCDC6971}" presName="childText" presStyleLbl="bgAcc1" presStyleIdx="17" presStyleCnt="35">
        <dgm:presLayoutVars>
          <dgm:bulletEnabled val="1"/>
        </dgm:presLayoutVars>
      </dgm:prSet>
      <dgm:spPr/>
    </dgm:pt>
    <dgm:pt modelId="{287A4EA9-D814-4ABF-BC19-7544579B7182}" type="pres">
      <dgm:prSet presAssocID="{6A687538-CFEB-4B59-9817-DD834E0A5690}" presName="Name13" presStyleLbl="parChTrans1D2" presStyleIdx="18" presStyleCnt="35"/>
      <dgm:spPr/>
    </dgm:pt>
    <dgm:pt modelId="{9C0B1FF7-37FF-4F21-8C17-0D95C3288AF5}" type="pres">
      <dgm:prSet presAssocID="{18B952C2-7FC1-4499-9613-23BA16DD4F79}" presName="childText" presStyleLbl="bgAcc1" presStyleIdx="18" presStyleCnt="35">
        <dgm:presLayoutVars>
          <dgm:bulletEnabled val="1"/>
        </dgm:presLayoutVars>
      </dgm:prSet>
      <dgm:spPr/>
    </dgm:pt>
    <dgm:pt modelId="{176AFAB8-37E3-46F8-A0C3-22E65F442DC4}" type="pres">
      <dgm:prSet presAssocID="{D5841A78-CE91-4349-A4E8-79CA13B1C7AF}" presName="Name13" presStyleLbl="parChTrans1D2" presStyleIdx="19" presStyleCnt="35"/>
      <dgm:spPr/>
    </dgm:pt>
    <dgm:pt modelId="{604CFB17-08AF-4958-A713-FF225B4332A3}" type="pres">
      <dgm:prSet presAssocID="{F6EEA959-9F5B-4962-933E-3A4E6D4E42A5}" presName="childText" presStyleLbl="bgAcc1" presStyleIdx="19" presStyleCnt="35">
        <dgm:presLayoutVars>
          <dgm:bulletEnabled val="1"/>
        </dgm:presLayoutVars>
      </dgm:prSet>
      <dgm:spPr/>
    </dgm:pt>
    <dgm:pt modelId="{D889A515-191A-4982-AEEC-3ECE44CEC66F}" type="pres">
      <dgm:prSet presAssocID="{DECD1889-8F0D-4396-9C6B-AB488ACDCC4D}" presName="Name13" presStyleLbl="parChTrans1D2" presStyleIdx="20" presStyleCnt="35"/>
      <dgm:spPr/>
    </dgm:pt>
    <dgm:pt modelId="{C03C7241-7E4E-4347-A849-02021AA566B9}" type="pres">
      <dgm:prSet presAssocID="{6A0E5063-7FA4-4BDF-BA35-975178665EDA}" presName="childText" presStyleLbl="bgAcc1" presStyleIdx="20" presStyleCnt="35">
        <dgm:presLayoutVars>
          <dgm:bulletEnabled val="1"/>
        </dgm:presLayoutVars>
      </dgm:prSet>
      <dgm:spPr/>
    </dgm:pt>
    <dgm:pt modelId="{47CFE48C-BF98-4138-91BD-5F57B600C64A}" type="pres">
      <dgm:prSet presAssocID="{8B1E9363-1700-4943-849F-571489417329}" presName="Name13" presStyleLbl="parChTrans1D2" presStyleIdx="21" presStyleCnt="35"/>
      <dgm:spPr/>
    </dgm:pt>
    <dgm:pt modelId="{BDC210A9-5F6B-4A24-8181-45362043AE2C}" type="pres">
      <dgm:prSet presAssocID="{41CD0FC5-E160-4C2C-B4DE-AC54FF3EF463}" presName="childText" presStyleLbl="bgAcc1" presStyleIdx="21" presStyleCnt="35">
        <dgm:presLayoutVars>
          <dgm:bulletEnabled val="1"/>
        </dgm:presLayoutVars>
      </dgm:prSet>
      <dgm:spPr/>
    </dgm:pt>
    <dgm:pt modelId="{AC409765-3CEE-4D41-A932-7056728F3102}" type="pres">
      <dgm:prSet presAssocID="{BCB7ACFF-E415-47F3-8223-75C6CB94BAD8}" presName="root" presStyleCnt="0"/>
      <dgm:spPr/>
    </dgm:pt>
    <dgm:pt modelId="{14DC976A-2F93-4011-89B7-558BDF85CE5A}" type="pres">
      <dgm:prSet presAssocID="{BCB7ACFF-E415-47F3-8223-75C6CB94BAD8}" presName="rootComposite" presStyleCnt="0"/>
      <dgm:spPr/>
    </dgm:pt>
    <dgm:pt modelId="{5295DC4E-F85B-42F2-A332-0543DC932F23}" type="pres">
      <dgm:prSet presAssocID="{BCB7ACFF-E415-47F3-8223-75C6CB94BAD8}" presName="rootText" presStyleLbl="node1" presStyleIdx="4" presStyleCnt="7"/>
      <dgm:spPr/>
    </dgm:pt>
    <dgm:pt modelId="{A44A81B6-E59C-4C22-B140-B52C117B4CA8}" type="pres">
      <dgm:prSet presAssocID="{BCB7ACFF-E415-47F3-8223-75C6CB94BAD8}" presName="rootConnector" presStyleLbl="node1" presStyleIdx="4" presStyleCnt="7"/>
      <dgm:spPr/>
    </dgm:pt>
    <dgm:pt modelId="{05C58286-FE07-4178-A88C-20AE6DEAD300}" type="pres">
      <dgm:prSet presAssocID="{BCB7ACFF-E415-47F3-8223-75C6CB94BAD8}" presName="childShape" presStyleCnt="0"/>
      <dgm:spPr/>
    </dgm:pt>
    <dgm:pt modelId="{3DCF3D40-45EA-42E7-9BC8-807258FB4B11}" type="pres">
      <dgm:prSet presAssocID="{631741A9-D175-430A-9294-645721A53968}" presName="Name13" presStyleLbl="parChTrans1D2" presStyleIdx="22" presStyleCnt="35"/>
      <dgm:spPr/>
    </dgm:pt>
    <dgm:pt modelId="{38F03441-419B-4B7F-B19F-502C5D3E0BDA}" type="pres">
      <dgm:prSet presAssocID="{AA4D1BB5-47CF-4905-9576-0E69B22FDCF1}" presName="childText" presStyleLbl="bgAcc1" presStyleIdx="22" presStyleCnt="35">
        <dgm:presLayoutVars>
          <dgm:bulletEnabled val="1"/>
        </dgm:presLayoutVars>
      </dgm:prSet>
      <dgm:spPr/>
    </dgm:pt>
    <dgm:pt modelId="{9CF1185A-3CBC-4C97-8BC9-B087238FD49F}" type="pres">
      <dgm:prSet presAssocID="{A363AFFE-9F1C-4DAE-9828-1D2B31C5FA89}" presName="Name13" presStyleLbl="parChTrans1D2" presStyleIdx="23" presStyleCnt="35"/>
      <dgm:spPr/>
    </dgm:pt>
    <dgm:pt modelId="{12C4F2F0-551E-4A51-B529-03E5C64C3DCE}" type="pres">
      <dgm:prSet presAssocID="{7F664BCA-88C1-46A4-A920-D218D2B3E65D}" presName="childText" presStyleLbl="bgAcc1" presStyleIdx="23" presStyleCnt="35">
        <dgm:presLayoutVars>
          <dgm:bulletEnabled val="1"/>
        </dgm:presLayoutVars>
      </dgm:prSet>
      <dgm:spPr/>
    </dgm:pt>
    <dgm:pt modelId="{6C5AE948-5787-4F20-A26F-C5CD8C100973}" type="pres">
      <dgm:prSet presAssocID="{6A933B4B-8B8D-456C-970C-1A1DA83DE133}" presName="Name13" presStyleLbl="parChTrans1D2" presStyleIdx="24" presStyleCnt="35"/>
      <dgm:spPr/>
    </dgm:pt>
    <dgm:pt modelId="{28B8AFEB-E153-4089-A140-3A2DAF7CE74F}" type="pres">
      <dgm:prSet presAssocID="{B7669C1E-3B29-4A81-90CC-DE6798B12F0A}" presName="childText" presStyleLbl="bgAcc1" presStyleIdx="24" presStyleCnt="35">
        <dgm:presLayoutVars>
          <dgm:bulletEnabled val="1"/>
        </dgm:presLayoutVars>
      </dgm:prSet>
      <dgm:spPr/>
    </dgm:pt>
    <dgm:pt modelId="{C9EA45BD-66D0-499A-BC6D-D1DF43725BF6}" type="pres">
      <dgm:prSet presAssocID="{DD189E00-BB77-4DBC-A91D-CCFB826A9350}" presName="Name13" presStyleLbl="parChTrans1D2" presStyleIdx="25" presStyleCnt="35"/>
      <dgm:spPr/>
    </dgm:pt>
    <dgm:pt modelId="{CBB1B048-9345-4B7C-A23A-2F177E4125AD}" type="pres">
      <dgm:prSet presAssocID="{792C1470-D840-4C12-AF84-F8FE39630629}" presName="childText" presStyleLbl="bgAcc1" presStyleIdx="25" presStyleCnt="35">
        <dgm:presLayoutVars>
          <dgm:bulletEnabled val="1"/>
        </dgm:presLayoutVars>
      </dgm:prSet>
      <dgm:spPr/>
    </dgm:pt>
    <dgm:pt modelId="{EBCE6F39-B8A1-4C7E-A3D0-FE148A02738E}" type="pres">
      <dgm:prSet presAssocID="{3EE9DBCE-1BD5-41A0-A19E-C9D02E85A8BE}" presName="Name13" presStyleLbl="parChTrans1D2" presStyleIdx="26" presStyleCnt="35"/>
      <dgm:spPr/>
    </dgm:pt>
    <dgm:pt modelId="{BC294B1C-FFA3-4618-807B-D834239A9713}" type="pres">
      <dgm:prSet presAssocID="{0B119E02-88C2-4BBC-AF60-0C05F1088DAA}" presName="childText" presStyleLbl="bgAcc1" presStyleIdx="26" presStyleCnt="35">
        <dgm:presLayoutVars>
          <dgm:bulletEnabled val="1"/>
        </dgm:presLayoutVars>
      </dgm:prSet>
      <dgm:spPr/>
    </dgm:pt>
    <dgm:pt modelId="{E2DC9FFC-E21B-4CC0-B322-89CB4BD0E8E0}" type="pres">
      <dgm:prSet presAssocID="{782B8E51-90F2-476A-8B3E-85BF9B0B4748}" presName="root" presStyleCnt="0"/>
      <dgm:spPr/>
    </dgm:pt>
    <dgm:pt modelId="{8EE5B374-611C-4CBC-A681-30577B31A72E}" type="pres">
      <dgm:prSet presAssocID="{782B8E51-90F2-476A-8B3E-85BF9B0B4748}" presName="rootComposite" presStyleCnt="0"/>
      <dgm:spPr/>
    </dgm:pt>
    <dgm:pt modelId="{EE709107-E215-46D1-9612-2F84D815A55E}" type="pres">
      <dgm:prSet presAssocID="{782B8E51-90F2-476A-8B3E-85BF9B0B4748}" presName="rootText" presStyleLbl="node1" presStyleIdx="5" presStyleCnt="7"/>
      <dgm:spPr/>
    </dgm:pt>
    <dgm:pt modelId="{6DE43500-CA69-4EFA-947E-DAFD194101D7}" type="pres">
      <dgm:prSet presAssocID="{782B8E51-90F2-476A-8B3E-85BF9B0B4748}" presName="rootConnector" presStyleLbl="node1" presStyleIdx="5" presStyleCnt="7"/>
      <dgm:spPr/>
    </dgm:pt>
    <dgm:pt modelId="{FAFB9FCB-FC2F-42EC-BC3C-E7B7A577E5F0}" type="pres">
      <dgm:prSet presAssocID="{782B8E51-90F2-476A-8B3E-85BF9B0B4748}" presName="childShape" presStyleCnt="0"/>
      <dgm:spPr/>
    </dgm:pt>
    <dgm:pt modelId="{A5B4C93F-952C-431E-86DA-15B1D2DE6380}" type="pres">
      <dgm:prSet presAssocID="{DFD1957C-3EEF-4EDA-86F9-1C950BD33CDC}" presName="Name13" presStyleLbl="parChTrans1D2" presStyleIdx="27" presStyleCnt="35"/>
      <dgm:spPr/>
    </dgm:pt>
    <dgm:pt modelId="{94024552-8157-4BBB-AB1C-102BB7F5E882}" type="pres">
      <dgm:prSet presAssocID="{AE2AFAD9-9944-4D01-9983-A7AE0D499C20}" presName="childText" presStyleLbl="bgAcc1" presStyleIdx="27" presStyleCnt="35">
        <dgm:presLayoutVars>
          <dgm:bulletEnabled val="1"/>
        </dgm:presLayoutVars>
      </dgm:prSet>
      <dgm:spPr/>
    </dgm:pt>
    <dgm:pt modelId="{03DEDCD0-EEB6-4B6B-ABBF-A13F5B99032F}" type="pres">
      <dgm:prSet presAssocID="{1BF97D28-CB1B-4CFA-911F-AF7B7EF736BC}" presName="Name13" presStyleLbl="parChTrans1D2" presStyleIdx="28" presStyleCnt="35"/>
      <dgm:spPr/>
    </dgm:pt>
    <dgm:pt modelId="{3721598A-C609-4FB6-B4A3-4E9281E43DDC}" type="pres">
      <dgm:prSet presAssocID="{24B39971-3E25-4005-BE34-740B44BB0090}" presName="childText" presStyleLbl="bgAcc1" presStyleIdx="28" presStyleCnt="35">
        <dgm:presLayoutVars>
          <dgm:bulletEnabled val="1"/>
        </dgm:presLayoutVars>
      </dgm:prSet>
      <dgm:spPr/>
    </dgm:pt>
    <dgm:pt modelId="{7973476C-67E2-4F61-87F1-760C6F33B54D}" type="pres">
      <dgm:prSet presAssocID="{95B3B508-8F96-4CDE-93FB-52382D1C9D22}" presName="Name13" presStyleLbl="parChTrans1D2" presStyleIdx="29" presStyleCnt="35"/>
      <dgm:spPr/>
    </dgm:pt>
    <dgm:pt modelId="{77D9C0DD-8035-42B1-91B2-102EADD2676A}" type="pres">
      <dgm:prSet presAssocID="{69F64FB5-350C-4155-AF65-1174C58BC43D}" presName="childText" presStyleLbl="bgAcc1" presStyleIdx="29" presStyleCnt="35">
        <dgm:presLayoutVars>
          <dgm:bulletEnabled val="1"/>
        </dgm:presLayoutVars>
      </dgm:prSet>
      <dgm:spPr/>
    </dgm:pt>
    <dgm:pt modelId="{BAEA17EE-4455-43E1-86D7-13DD5DD1AA56}" type="pres">
      <dgm:prSet presAssocID="{13801BF3-25EF-4E22-8F01-53E8E075284D}" presName="root" presStyleCnt="0"/>
      <dgm:spPr/>
    </dgm:pt>
    <dgm:pt modelId="{0F46C2D5-A363-4957-908D-F40930CE8822}" type="pres">
      <dgm:prSet presAssocID="{13801BF3-25EF-4E22-8F01-53E8E075284D}" presName="rootComposite" presStyleCnt="0"/>
      <dgm:spPr/>
    </dgm:pt>
    <dgm:pt modelId="{EFE37A88-3F2C-4EF4-9D60-4E0BDAC5C6A3}" type="pres">
      <dgm:prSet presAssocID="{13801BF3-25EF-4E22-8F01-53E8E075284D}" presName="rootText" presStyleLbl="node1" presStyleIdx="6" presStyleCnt="7"/>
      <dgm:spPr/>
    </dgm:pt>
    <dgm:pt modelId="{93C0E7CD-FAC5-4F46-9392-BF01DAFEC06D}" type="pres">
      <dgm:prSet presAssocID="{13801BF3-25EF-4E22-8F01-53E8E075284D}" presName="rootConnector" presStyleLbl="node1" presStyleIdx="6" presStyleCnt="7"/>
      <dgm:spPr/>
    </dgm:pt>
    <dgm:pt modelId="{D9324836-DBC5-49C5-9D35-BD7E84493058}" type="pres">
      <dgm:prSet presAssocID="{13801BF3-25EF-4E22-8F01-53E8E075284D}" presName="childShape" presStyleCnt="0"/>
      <dgm:spPr/>
    </dgm:pt>
    <dgm:pt modelId="{94AE62F6-BB81-4B8D-80EF-896B18EAD897}" type="pres">
      <dgm:prSet presAssocID="{B6619F60-FC83-413A-930C-79FA4958A5AE}" presName="Name13" presStyleLbl="parChTrans1D2" presStyleIdx="30" presStyleCnt="35"/>
      <dgm:spPr/>
    </dgm:pt>
    <dgm:pt modelId="{2EDCBD85-4246-4159-99C5-E4731D88A2DB}" type="pres">
      <dgm:prSet presAssocID="{B932AAA4-9CCB-4F4B-B281-72F5D1E6CD4C}" presName="childText" presStyleLbl="bgAcc1" presStyleIdx="30" presStyleCnt="35">
        <dgm:presLayoutVars>
          <dgm:bulletEnabled val="1"/>
        </dgm:presLayoutVars>
      </dgm:prSet>
      <dgm:spPr/>
    </dgm:pt>
    <dgm:pt modelId="{65F63A20-A4BC-4C40-9D68-5DCC8ED5E903}" type="pres">
      <dgm:prSet presAssocID="{9A30EADD-2247-4721-8F6B-950C570F2744}" presName="Name13" presStyleLbl="parChTrans1D2" presStyleIdx="31" presStyleCnt="35"/>
      <dgm:spPr/>
    </dgm:pt>
    <dgm:pt modelId="{D460B1DB-B126-4490-A671-B530345E4270}" type="pres">
      <dgm:prSet presAssocID="{32EE5D1F-4263-4695-86B6-CC42DACEB03D}" presName="childText" presStyleLbl="bgAcc1" presStyleIdx="31" presStyleCnt="35">
        <dgm:presLayoutVars>
          <dgm:bulletEnabled val="1"/>
        </dgm:presLayoutVars>
      </dgm:prSet>
      <dgm:spPr/>
    </dgm:pt>
    <dgm:pt modelId="{FBC61A76-5B33-4EA7-B633-0F22D64F0230}" type="pres">
      <dgm:prSet presAssocID="{1377C183-4FF5-4471-A832-005F9B314953}" presName="Name13" presStyleLbl="parChTrans1D2" presStyleIdx="32" presStyleCnt="35"/>
      <dgm:spPr/>
    </dgm:pt>
    <dgm:pt modelId="{AC09B3A9-EBB3-4097-93AA-CFF49A0F71FE}" type="pres">
      <dgm:prSet presAssocID="{D5B09AC0-CDBB-40C9-8DB4-195C3CD4B6C5}" presName="childText" presStyleLbl="bgAcc1" presStyleIdx="32" presStyleCnt="35">
        <dgm:presLayoutVars>
          <dgm:bulletEnabled val="1"/>
        </dgm:presLayoutVars>
      </dgm:prSet>
      <dgm:spPr/>
    </dgm:pt>
    <dgm:pt modelId="{A3F63159-5987-467C-B940-A83A4DCE289C}" type="pres">
      <dgm:prSet presAssocID="{D82B777A-0D0D-46C7-A1F4-16D87B77FFEC}" presName="Name13" presStyleLbl="parChTrans1D2" presStyleIdx="33" presStyleCnt="35"/>
      <dgm:spPr/>
    </dgm:pt>
    <dgm:pt modelId="{A9ECC3FA-E748-4ACA-8DE2-2C2BA9CA7BBF}" type="pres">
      <dgm:prSet presAssocID="{56310A41-C6AB-4133-895D-68DBA65313D9}" presName="childText" presStyleLbl="bgAcc1" presStyleIdx="33" presStyleCnt="35">
        <dgm:presLayoutVars>
          <dgm:bulletEnabled val="1"/>
        </dgm:presLayoutVars>
      </dgm:prSet>
      <dgm:spPr/>
    </dgm:pt>
    <dgm:pt modelId="{AB39A947-6F2E-466D-95BC-B9B1B533E845}" type="pres">
      <dgm:prSet presAssocID="{1AE6CD79-4A93-4098-B8E9-07EEB337952E}" presName="Name13" presStyleLbl="parChTrans1D2" presStyleIdx="34" presStyleCnt="35"/>
      <dgm:spPr/>
    </dgm:pt>
    <dgm:pt modelId="{964DE8E0-4101-4CBA-ACAF-297029390CC5}" type="pres">
      <dgm:prSet presAssocID="{0CED6C15-1093-4AD9-92D3-372F54DB911C}" presName="childText" presStyleLbl="bgAcc1" presStyleIdx="34" presStyleCnt="35">
        <dgm:presLayoutVars>
          <dgm:bulletEnabled val="1"/>
        </dgm:presLayoutVars>
      </dgm:prSet>
      <dgm:spPr/>
    </dgm:pt>
  </dgm:ptLst>
  <dgm:cxnLst>
    <dgm:cxn modelId="{EFF17008-BD7D-429B-A320-FE2070D8FECE}" type="presOf" srcId="{5716DA5A-F06B-4EFE-B44D-DEF9D1744688}" destId="{4B9C3C19-2230-4B6D-840B-61BCDC05BAB1}" srcOrd="0" destOrd="0" presId="urn:microsoft.com/office/officeart/2005/8/layout/hierarchy3"/>
    <dgm:cxn modelId="{C2242F0A-EE64-4DC9-84E9-A6D03FB7D7D6}" srcId="{E6552B51-F25D-4726-9EF3-9BAB070DCB57}" destId="{BABD5779-F68E-4DF4-B531-E5DEE2DDF44D}" srcOrd="5" destOrd="0" parTransId="{95121803-847C-4B35-A405-223493501FB6}" sibTransId="{652D545A-3C5C-4B8A-A17B-0E1BBF602EA7}"/>
    <dgm:cxn modelId="{B37F2E0B-57C7-40A1-A6CD-173277188E76}" srcId="{21CB2745-3FDC-4C68-B838-8F08FE376801}" destId="{891271CD-28A8-474B-A42E-D7D98ED0A0B7}" srcOrd="2" destOrd="0" parTransId="{F384E1A6-6BCC-405C-8CB6-60BF087CC941}" sibTransId="{B4DEDA5B-737C-4152-821D-EDB4D93F9E9D}"/>
    <dgm:cxn modelId="{0DA5FF0F-CFAE-4705-BE35-9D86600E0560}" type="presOf" srcId="{1AE6CD79-4A93-4098-B8E9-07EEB337952E}" destId="{AB39A947-6F2E-466D-95BC-B9B1B533E845}" srcOrd="0" destOrd="0" presId="urn:microsoft.com/office/officeart/2005/8/layout/hierarchy3"/>
    <dgm:cxn modelId="{ED448610-EF48-4926-ACAB-2B3ED7F86FDF}" type="presOf" srcId="{AE2AFAD9-9944-4D01-9983-A7AE0D499C20}" destId="{94024552-8157-4BBB-AB1C-102BB7F5E882}" srcOrd="0" destOrd="0" presId="urn:microsoft.com/office/officeart/2005/8/layout/hierarchy3"/>
    <dgm:cxn modelId="{9E60E311-946D-4FAD-AF45-5B219A9B7D30}" type="presOf" srcId="{DF8FA407-BD98-477B-B59C-D8006775846C}" destId="{9CB0BBE8-B049-4A16-BA5F-F3F4806BE9BF}" srcOrd="0" destOrd="0" presId="urn:microsoft.com/office/officeart/2005/8/layout/hierarchy3"/>
    <dgm:cxn modelId="{F6852A14-EE08-492C-B6B8-56B2CDB63673}" type="presOf" srcId="{61752EC5-44ED-4D0C-995D-FF508C1863A7}" destId="{AEB5F4F3-0273-4223-AC74-BE84CF3AC012}" srcOrd="0" destOrd="0" presId="urn:microsoft.com/office/officeart/2005/8/layout/hierarchy3"/>
    <dgm:cxn modelId="{93649014-4EC2-415A-B9AC-331157B9CC96}" type="presOf" srcId="{AD1DCA32-722F-4931-815D-3B919CFE2578}" destId="{51586B9C-85FB-4899-B4FF-F205C0BBA3F0}" srcOrd="0" destOrd="0" presId="urn:microsoft.com/office/officeart/2005/8/layout/hierarchy3"/>
    <dgm:cxn modelId="{42CA0517-A08E-4AF2-B3C8-80EFB94BECB7}" type="presOf" srcId="{74C654ED-D8E2-4135-9DB5-7A43ED517377}" destId="{35FA5C41-A6BF-45CE-8E73-B7448D607955}" srcOrd="0" destOrd="0" presId="urn:microsoft.com/office/officeart/2005/8/layout/hierarchy3"/>
    <dgm:cxn modelId="{923E6D18-AA85-4765-9E4A-20ED632FB46B}" srcId="{2D249B44-E216-49FD-88CB-FF72677A8A29}" destId="{E6552B51-F25D-4726-9EF3-9BAB070DCB57}" srcOrd="0" destOrd="0" parTransId="{27741253-AA35-42B7-9CBF-7AA6CEF94B4B}" sibTransId="{6DB1265F-CFD1-4B02-8CC1-32DF0C60289F}"/>
    <dgm:cxn modelId="{FCEC711A-B695-494E-A28A-AF03E2838F4D}" type="presOf" srcId="{95121803-847C-4B35-A405-223493501FB6}" destId="{42AAE9D3-C5AF-462D-959E-EF5871DF43DA}" srcOrd="0" destOrd="0" presId="urn:microsoft.com/office/officeart/2005/8/layout/hierarchy3"/>
    <dgm:cxn modelId="{37A02420-DC30-4428-8B38-A7AD15B5DB91}" type="presOf" srcId="{792C1470-D840-4C12-AF84-F8FE39630629}" destId="{CBB1B048-9345-4B7C-A23A-2F177E4125AD}" srcOrd="0" destOrd="0" presId="urn:microsoft.com/office/officeart/2005/8/layout/hierarchy3"/>
    <dgm:cxn modelId="{18FDD520-80CB-40D1-B49E-9C06B998F586}" type="presOf" srcId="{8CA6824D-13E5-4727-9D22-C7182F7B6E95}" destId="{F7063A13-6F2A-4032-83CE-0CBFE825450D}" srcOrd="0" destOrd="0" presId="urn:microsoft.com/office/officeart/2005/8/layout/hierarchy3"/>
    <dgm:cxn modelId="{EEBED721-43A3-4AC5-8137-EAACE74AB967}" srcId="{E6552B51-F25D-4726-9EF3-9BAB070DCB57}" destId="{E261C6E2-0898-4B04-8FF0-DD6E71FB8351}" srcOrd="2" destOrd="0" parTransId="{F161A7B4-5F00-479F-BC34-9FED1C5CA5F1}" sibTransId="{495C24FA-FA36-4958-B878-957E13030695}"/>
    <dgm:cxn modelId="{C73CB123-25B7-4515-8DD9-A02A85E0D85B}" type="presOf" srcId="{2D249B44-E216-49FD-88CB-FF72677A8A29}" destId="{CA638CDE-9F8D-4E6E-AFAB-25AF89218C08}" srcOrd="0" destOrd="0" presId="urn:microsoft.com/office/officeart/2005/8/layout/hierarchy3"/>
    <dgm:cxn modelId="{8FCDC623-EA57-48C0-93F7-7CE33B83BFFD}" type="presOf" srcId="{B7669C1E-3B29-4A81-90CC-DE6798B12F0A}" destId="{28B8AFEB-E153-4089-A140-3A2DAF7CE74F}" srcOrd="0" destOrd="0" presId="urn:microsoft.com/office/officeart/2005/8/layout/hierarchy3"/>
    <dgm:cxn modelId="{F2E9C324-1CED-44E2-8D59-40F093B9261D}" srcId="{2D249B44-E216-49FD-88CB-FF72677A8A29}" destId="{13801BF3-25EF-4E22-8F01-53E8E075284D}" srcOrd="6" destOrd="0" parTransId="{4861C26A-24B4-4408-856E-A8599351EA73}" sibTransId="{EAC7D945-9A51-45D8-988E-48C52AC5C487}"/>
    <dgm:cxn modelId="{DBDDE524-0172-4F1A-ADDA-1C716AAE9CF6}" type="presOf" srcId="{8B1E9363-1700-4943-849F-571489417329}" destId="{47CFE48C-BF98-4138-91BD-5F57B600C64A}" srcOrd="0" destOrd="0" presId="urn:microsoft.com/office/officeart/2005/8/layout/hierarchy3"/>
    <dgm:cxn modelId="{12182E27-D61D-4845-9717-E3C05DE1753F}" srcId="{BCB7ACFF-E415-47F3-8223-75C6CB94BAD8}" destId="{B7669C1E-3B29-4A81-90CC-DE6798B12F0A}" srcOrd="2" destOrd="0" parTransId="{6A933B4B-8B8D-456C-970C-1A1DA83DE133}" sibTransId="{500DC1C7-58E2-4963-AD97-37FE3B4C4336}"/>
    <dgm:cxn modelId="{D9CE8527-B61F-4EC8-8CA5-2A0ED8FE5DE0}" srcId="{2D249B44-E216-49FD-88CB-FF72677A8A29}" destId="{21CB2745-3FDC-4C68-B838-8F08FE376801}" srcOrd="2" destOrd="0" parTransId="{461DAAFF-1029-4CE6-B2C2-6C13C6FB2716}" sibTransId="{66E3AD3D-F955-4CA8-885F-5382660FBAE4}"/>
    <dgm:cxn modelId="{B0CD6329-9C07-4488-A3B7-741DD5506930}" type="presOf" srcId="{367508C5-41C6-4C36-B107-85694AD01FB2}" destId="{23C12378-C5F6-4C2D-9CC4-EE18FF5C23CD}" srcOrd="0" destOrd="0" presId="urn:microsoft.com/office/officeart/2005/8/layout/hierarchy3"/>
    <dgm:cxn modelId="{938ADB29-DCA6-4BCE-BCA6-F237D1C5478E}" type="presOf" srcId="{DFD1957C-3EEF-4EDA-86F9-1C950BD33CDC}" destId="{A5B4C93F-952C-431E-86DA-15B1D2DE6380}" srcOrd="0" destOrd="0" presId="urn:microsoft.com/office/officeart/2005/8/layout/hierarchy3"/>
    <dgm:cxn modelId="{F8782F2C-9993-4B1D-9789-42F9349E1F8F}" type="presOf" srcId="{1377C183-4FF5-4471-A832-005F9B314953}" destId="{FBC61A76-5B33-4EA7-B633-0F22D64F0230}" srcOrd="0" destOrd="0" presId="urn:microsoft.com/office/officeart/2005/8/layout/hierarchy3"/>
    <dgm:cxn modelId="{4723912E-3A3B-43CC-A31A-C40CEC154B68}" type="presOf" srcId="{F161A7B4-5F00-479F-BC34-9FED1C5CA5F1}" destId="{36B8ABE4-F642-40FC-866F-A8C98F84D8E2}" srcOrd="0" destOrd="0" presId="urn:microsoft.com/office/officeart/2005/8/layout/hierarchy3"/>
    <dgm:cxn modelId="{D68C6230-7F47-4963-8C17-44BC323C59DA}" type="presOf" srcId="{6A0E5063-7FA4-4BDF-BA35-975178665EDA}" destId="{C03C7241-7E4E-4347-A849-02021AA566B9}" srcOrd="0" destOrd="0" presId="urn:microsoft.com/office/officeart/2005/8/layout/hierarchy3"/>
    <dgm:cxn modelId="{EA9EFC33-844D-479E-98D0-52885F5DE997}" type="presOf" srcId="{A88B2F79-1DEA-46FB-A4AE-9E398432E130}" destId="{D79548CE-D6A0-4E4B-B1A5-BC45CC9EF975}" srcOrd="1" destOrd="0" presId="urn:microsoft.com/office/officeart/2005/8/layout/hierarchy3"/>
    <dgm:cxn modelId="{C2F54034-4603-45B8-BA75-D095D8403E47}" type="presOf" srcId="{6A933B4B-8B8D-456C-970C-1A1DA83DE133}" destId="{6C5AE948-5787-4F20-A26F-C5CD8C100973}" srcOrd="0" destOrd="0" presId="urn:microsoft.com/office/officeart/2005/8/layout/hierarchy3"/>
    <dgm:cxn modelId="{3AF99034-9E51-4D28-8425-B8119AB1B2C5}" type="presOf" srcId="{BCB7ACFF-E415-47F3-8223-75C6CB94BAD8}" destId="{A44A81B6-E59C-4C22-B140-B52C117B4CA8}" srcOrd="1" destOrd="0" presId="urn:microsoft.com/office/officeart/2005/8/layout/hierarchy3"/>
    <dgm:cxn modelId="{4CD30C36-8399-4555-8B1D-2EDFD711AF08}" type="presOf" srcId="{492B5CE9-B648-4336-8BED-E226EF2B21D9}" destId="{937A70E4-8D07-4384-BE76-574EFF44B0C4}" srcOrd="1" destOrd="0" presId="urn:microsoft.com/office/officeart/2005/8/layout/hierarchy3"/>
    <dgm:cxn modelId="{D2564E37-2B10-42F4-AB47-28CD01034027}" srcId="{13801BF3-25EF-4E22-8F01-53E8E075284D}" destId="{32EE5D1F-4263-4695-86B6-CC42DACEB03D}" srcOrd="1" destOrd="0" parTransId="{9A30EADD-2247-4721-8F6B-950C570F2744}" sibTransId="{C0A9B8A5-AF5B-4079-A4D8-6C447D4F1A6C}"/>
    <dgm:cxn modelId="{FF5E4238-AAF8-427B-8150-747B6FEFEB61}" type="presOf" srcId="{B6619F60-FC83-413A-930C-79FA4958A5AE}" destId="{94AE62F6-BB81-4B8D-80EF-896B18EAD897}" srcOrd="0" destOrd="0" presId="urn:microsoft.com/office/officeart/2005/8/layout/hierarchy3"/>
    <dgm:cxn modelId="{4C936039-E8AC-4232-BB68-2FB961D784FA}" type="presOf" srcId="{41D62ACA-9362-487E-A4A7-C00B8FB61CB3}" destId="{D45D9E4D-A31F-405D-BB5B-B79286EF9EAA}" srcOrd="0" destOrd="0" presId="urn:microsoft.com/office/officeart/2005/8/layout/hierarchy3"/>
    <dgm:cxn modelId="{B264783E-5752-459F-99A5-342978EBCE3D}" type="presOf" srcId="{616269A1-6056-44D8-B2AE-D7C19FAB07A3}" destId="{4C873FA2-F743-44CC-B3F8-20AB4B9DD391}" srcOrd="0" destOrd="0" presId="urn:microsoft.com/office/officeart/2005/8/layout/hierarchy3"/>
    <dgm:cxn modelId="{DDF65E40-EBB5-41BA-BBF1-370179650068}" type="presOf" srcId="{95B3B508-8F96-4CDE-93FB-52382D1C9D22}" destId="{7973476C-67E2-4F61-87F1-760C6F33B54D}" srcOrd="0" destOrd="0" presId="urn:microsoft.com/office/officeart/2005/8/layout/hierarchy3"/>
    <dgm:cxn modelId="{3D4C6A40-FAC4-410B-821C-8384D1450406}" type="presOf" srcId="{B8CA81BD-F6AE-431C-B3A3-A163F3BCBA81}" destId="{93BF51D4-094B-4B6F-907E-9E7BBAC35BB7}" srcOrd="0" destOrd="0" presId="urn:microsoft.com/office/officeart/2005/8/layout/hierarchy3"/>
    <dgm:cxn modelId="{B392185D-EE19-4995-BFDD-378D577820FA}" type="presOf" srcId="{32EE5D1F-4263-4695-86B6-CC42DACEB03D}" destId="{D460B1DB-B126-4490-A671-B530345E4270}" srcOrd="0" destOrd="0" presId="urn:microsoft.com/office/officeart/2005/8/layout/hierarchy3"/>
    <dgm:cxn modelId="{951F6F5E-E5A2-4FD2-8FDC-B6B937D9E3EC}" srcId="{492B5CE9-B648-4336-8BED-E226EF2B21D9}" destId="{07AC2D91-772B-40DC-9488-E006AEE763D6}" srcOrd="3" destOrd="0" parTransId="{6ED41BFA-5248-4143-B8A0-537BF4B15B15}" sibTransId="{8131F967-6F61-4555-801E-2EEF00FC7144}"/>
    <dgm:cxn modelId="{6C48975E-2BF2-4292-A964-E2387CBAA220}" srcId="{13801BF3-25EF-4E22-8F01-53E8E075284D}" destId="{D5B09AC0-CDBB-40C9-8DB4-195C3CD4B6C5}" srcOrd="2" destOrd="0" parTransId="{1377C183-4FF5-4471-A832-005F9B314953}" sibTransId="{8FB01A2F-44DE-4DAE-9B1F-7A4FCC021EA8}"/>
    <dgm:cxn modelId="{E136845F-34B3-48D8-A53A-DC75262620E8}" srcId="{21CB2745-3FDC-4C68-B838-8F08FE376801}" destId="{B11BF6D4-CD18-41D5-B6A4-FDA07D571875}" srcOrd="0" destOrd="0" parTransId="{2B004A80-0B9E-4F48-954C-F9B45DFF1D07}" sibTransId="{2B7587D0-E882-428E-939D-2B689F586284}"/>
    <dgm:cxn modelId="{8496AF5F-7D88-4457-9577-9109FEF9920B}" type="presOf" srcId="{D82B777A-0D0D-46C7-A1F4-16D87B77FFEC}" destId="{A3F63159-5987-467C-B940-A83A4DCE289C}" srcOrd="0" destOrd="0" presId="urn:microsoft.com/office/officeart/2005/8/layout/hierarchy3"/>
    <dgm:cxn modelId="{47E30660-A107-4A52-897E-47E81DDAB1C5}" type="presOf" srcId="{07AC2D91-772B-40DC-9488-E006AEE763D6}" destId="{FEAA0338-DBD3-4B8E-B3E0-949D36D41AFF}" srcOrd="0" destOrd="0" presId="urn:microsoft.com/office/officeart/2005/8/layout/hierarchy3"/>
    <dgm:cxn modelId="{C40AD342-2AD4-4128-ADFA-DF46E4E008D5}" type="presOf" srcId="{6ED41BFA-5248-4143-B8A0-537BF4B15B15}" destId="{6E66D4B2-96A1-400C-AC52-000FCD4EF449}" srcOrd="0" destOrd="0" presId="urn:microsoft.com/office/officeart/2005/8/layout/hierarchy3"/>
    <dgm:cxn modelId="{F72F7143-4834-4D8D-98CC-F69EC8437693}" type="presOf" srcId="{69F64FB5-350C-4155-AF65-1174C58BC43D}" destId="{77D9C0DD-8035-42B1-91B2-102EADD2676A}" srcOrd="0" destOrd="0" presId="urn:microsoft.com/office/officeart/2005/8/layout/hierarchy3"/>
    <dgm:cxn modelId="{578E7943-6A8A-4637-B3E3-81A17B4EE0A2}" type="presOf" srcId="{E6552B51-F25D-4726-9EF3-9BAB070DCB57}" destId="{626EF8ED-E427-4FA4-8BAF-1DC7EB9FE818}" srcOrd="1" destOrd="0" presId="urn:microsoft.com/office/officeart/2005/8/layout/hierarchy3"/>
    <dgm:cxn modelId="{8A066864-74C8-4B02-A09E-2C39BD2D8F6B}" type="presOf" srcId="{21CB2745-3FDC-4C68-B838-8F08FE376801}" destId="{32DF47F8-B772-4615-9BAE-343A4B772D4F}" srcOrd="1" destOrd="0" presId="urn:microsoft.com/office/officeart/2005/8/layout/hierarchy3"/>
    <dgm:cxn modelId="{E0B8C767-72C9-45D2-BAC2-08CA6D4BB79F}" srcId="{21CB2745-3FDC-4C68-B838-8F08FE376801}" destId="{BEF0CFD9-ECD2-48EB-8FEB-8163A43992C7}" srcOrd="5" destOrd="0" parTransId="{550E467F-735A-4F49-A3C4-3063AC6F4A31}" sibTransId="{6B80C19A-59C1-46C3-A5C2-21EEBC045AE2}"/>
    <dgm:cxn modelId="{2A891248-1A17-4D3C-AF33-0CCED91520A9}" srcId="{21CB2745-3FDC-4C68-B838-8F08FE376801}" destId="{3D00D393-43AB-41E5-B06D-AF0E5DB55A74}" srcOrd="1" destOrd="0" parTransId="{B8CA81BD-F6AE-431C-B3A3-A163F3BCBA81}" sibTransId="{987EA2D0-7235-4D72-A23E-27852A53C387}"/>
    <dgm:cxn modelId="{2532A568-7C37-4124-93DA-442DB254D785}" type="presOf" srcId="{BEF0CFD9-ECD2-48EB-8FEB-8163A43992C7}" destId="{5C5C61A1-E544-480E-BEC3-ABD85E08B779}" srcOrd="0" destOrd="0" presId="urn:microsoft.com/office/officeart/2005/8/layout/hierarchy3"/>
    <dgm:cxn modelId="{8F6F946A-6627-4A02-9FE0-4CB0E8AEE430}" srcId="{13801BF3-25EF-4E22-8F01-53E8E075284D}" destId="{0CED6C15-1093-4AD9-92D3-372F54DB911C}" srcOrd="4" destOrd="0" parTransId="{1AE6CD79-4A93-4098-B8E9-07EEB337952E}" sibTransId="{53A330A1-5695-4C4F-8225-07779CE395D4}"/>
    <dgm:cxn modelId="{4066B66B-2F5C-45A1-A39D-51FFE0C6BDE8}" type="presOf" srcId="{7F664BCA-88C1-46A4-A920-D218D2B3E65D}" destId="{12C4F2F0-551E-4A51-B529-03E5C64C3DCE}" srcOrd="0" destOrd="0" presId="urn:microsoft.com/office/officeart/2005/8/layout/hierarchy3"/>
    <dgm:cxn modelId="{FE68BA6B-79F3-428B-BFFD-40E38E8F5778}" type="presOf" srcId="{1BF97D28-CB1B-4CFA-911F-AF7B7EF736BC}" destId="{03DEDCD0-EEB6-4B6B-ABBF-A13F5B99032F}" srcOrd="0" destOrd="0" presId="urn:microsoft.com/office/officeart/2005/8/layout/hierarchy3"/>
    <dgm:cxn modelId="{9EBC974D-0186-4EF5-88D7-633745198E41}" type="presOf" srcId="{56310A41-C6AB-4133-895D-68DBA65313D9}" destId="{A9ECC3FA-E748-4ACA-8DE2-2C2BA9CA7BBF}" srcOrd="0" destOrd="0" presId="urn:microsoft.com/office/officeart/2005/8/layout/hierarchy3"/>
    <dgm:cxn modelId="{0D33164E-36E6-449B-AFD0-7E9777B64F2E}" srcId="{A88B2F79-1DEA-46FB-A4AE-9E398432E130}" destId="{6A0E5063-7FA4-4BDF-BA35-975178665EDA}" srcOrd="4" destOrd="0" parTransId="{DECD1889-8F0D-4396-9C6B-AB488ACDCC4D}" sibTransId="{39345C65-ABBC-426D-A9EF-1C545594D1C8}"/>
    <dgm:cxn modelId="{5FB99170-5E6E-44EB-BC2D-795CD9B55D05}" type="presOf" srcId="{D5841A78-CE91-4349-A4E8-79CA13B1C7AF}" destId="{176AFAB8-37E3-46F8-A0C3-22E65F442DC4}" srcOrd="0" destOrd="0" presId="urn:microsoft.com/office/officeart/2005/8/layout/hierarchy3"/>
    <dgm:cxn modelId="{1E8DD270-E746-4891-A1FC-64C907C7CA11}" type="presOf" srcId="{D075FEE2-0523-437D-87A3-32EEAB8896E9}" destId="{EC362925-EFC7-4FBC-88A0-8AD984837F25}" srcOrd="0" destOrd="0" presId="urn:microsoft.com/office/officeart/2005/8/layout/hierarchy3"/>
    <dgm:cxn modelId="{B3788751-B10D-44F4-8412-420B1DACB077}" type="presOf" srcId="{0CED6C15-1093-4AD9-92D3-372F54DB911C}" destId="{964DE8E0-4101-4CBA-ACAF-297029390CC5}" srcOrd="0" destOrd="0" presId="urn:microsoft.com/office/officeart/2005/8/layout/hierarchy3"/>
    <dgm:cxn modelId="{F2522852-A7EE-402C-BA40-8876F8A455EC}" srcId="{782B8E51-90F2-476A-8B3E-85BF9B0B4748}" destId="{69F64FB5-350C-4155-AF65-1174C58BC43D}" srcOrd="2" destOrd="0" parTransId="{95B3B508-8F96-4CDE-93FB-52382D1C9D22}" sibTransId="{082C2FF8-F155-42FB-8947-DAC488022B02}"/>
    <dgm:cxn modelId="{8BB3A852-69B1-4E19-9627-E5B39B9C73C0}" srcId="{492B5CE9-B648-4336-8BED-E226EF2B21D9}" destId="{61752EC5-44ED-4D0C-995D-FF508C1863A7}" srcOrd="0" destOrd="0" parTransId="{616269A1-6056-44D8-B2AE-D7C19FAB07A3}" sibTransId="{CD716ED1-DF07-409A-9DB0-C38F654DFDFF}"/>
    <dgm:cxn modelId="{613FB573-2EAE-49EE-91B7-4565B2CD3681}" srcId="{21CB2745-3FDC-4C68-B838-8F08FE376801}" destId="{9B3A9664-5430-4EE0-824E-C41FD15F1F9A}" srcOrd="4" destOrd="0" parTransId="{22FB6D4B-5380-4471-9FB9-6CB1C63F1503}" sibTransId="{2AEDCE14-8CED-47F9-BD72-2EE29941C0CB}"/>
    <dgm:cxn modelId="{E880BA73-44B3-4D95-A4D2-6153102B4FAD}" type="presOf" srcId="{544D5456-B19C-4E98-8194-DE90182DD09F}" destId="{3956F642-C0CD-413E-A5BE-E9A1040B8205}" srcOrd="0" destOrd="0" presId="urn:microsoft.com/office/officeart/2005/8/layout/hierarchy3"/>
    <dgm:cxn modelId="{A1B1D573-0B9D-4832-8E94-A7A9FD69C4B6}" srcId="{492B5CE9-B648-4336-8BED-E226EF2B21D9}" destId="{5A5F63CC-451C-4BD9-97AA-3FB79703932A}" srcOrd="2" destOrd="0" parTransId="{23775CFB-2636-404A-9B62-DE21D380F3DD}" sibTransId="{0D2D0996-4160-4579-B527-9E690D3F6573}"/>
    <dgm:cxn modelId="{D80C5D76-01C9-495C-9B4B-BB1026FE9856}" srcId="{E6552B51-F25D-4726-9EF3-9BAB070DCB57}" destId="{DF8FA407-BD98-477B-B59C-D8006775846C}" srcOrd="4" destOrd="0" parTransId="{77FC3955-5FBA-480A-B01E-E4328EB4CC97}" sibTransId="{5CECEA9E-0B68-4E4D-9A3B-D43651F0DEA3}"/>
    <dgm:cxn modelId="{18A09D57-3020-4214-8E36-DDA31ACD8D98}" type="presOf" srcId="{A363AFFE-9F1C-4DAE-9828-1D2B31C5FA89}" destId="{9CF1185A-3CBC-4C97-8BC9-B087238FD49F}" srcOrd="0" destOrd="0" presId="urn:microsoft.com/office/officeart/2005/8/layout/hierarchy3"/>
    <dgm:cxn modelId="{DE234279-C01C-40B3-A098-498D82C3A71D}" srcId="{BCB7ACFF-E415-47F3-8223-75C6CB94BAD8}" destId="{AA4D1BB5-47CF-4905-9576-0E69B22FDCF1}" srcOrd="0" destOrd="0" parTransId="{631741A9-D175-430A-9294-645721A53968}" sibTransId="{87EC657E-17D7-497B-A7F6-C3A6FA025262}"/>
    <dgm:cxn modelId="{2BDD077A-01D0-47F1-B7D1-11909429F605}" type="presOf" srcId="{A2537A63-9B8C-48FA-9E81-07A978A7CD90}" destId="{274DE616-B393-4E2F-8106-B3AE501CA4C7}" srcOrd="0" destOrd="0" presId="urn:microsoft.com/office/officeart/2005/8/layout/hierarchy3"/>
    <dgm:cxn modelId="{0F56867A-FA78-417E-9C9D-112DF65F2394}" type="presOf" srcId="{2B004A80-0B9E-4F48-954C-F9B45DFF1D07}" destId="{E1D911B7-DF78-4BF5-9787-0C3D10C179D2}" srcOrd="0" destOrd="0" presId="urn:microsoft.com/office/officeart/2005/8/layout/hierarchy3"/>
    <dgm:cxn modelId="{B5A6925A-DBD8-4862-9C6B-84F2E0E10AB9}" type="presOf" srcId="{AA4D1BB5-47CF-4905-9576-0E69B22FDCF1}" destId="{38F03441-419B-4B7F-B19F-502C5D3E0BDA}" srcOrd="0" destOrd="0" presId="urn:microsoft.com/office/officeart/2005/8/layout/hierarchy3"/>
    <dgm:cxn modelId="{C874AB7D-A820-4BFC-B9B0-215FDEAFE1AC}" type="presOf" srcId="{13801BF3-25EF-4E22-8F01-53E8E075284D}" destId="{EFE37A88-3F2C-4EF4-9D60-4E0BDAC5C6A3}" srcOrd="0" destOrd="0" presId="urn:microsoft.com/office/officeart/2005/8/layout/hierarchy3"/>
    <dgm:cxn modelId="{70773E80-7B0A-4F57-AAA8-8E8E1FAC644D}" srcId="{782B8E51-90F2-476A-8B3E-85BF9B0B4748}" destId="{24B39971-3E25-4005-BE34-740B44BB0090}" srcOrd="1" destOrd="0" parTransId="{1BF97D28-CB1B-4CFA-911F-AF7B7EF736BC}" sibTransId="{CDE64526-DA98-4E0B-8E0E-8ECF10A3ADC1}"/>
    <dgm:cxn modelId="{56BEA480-E778-4B65-9388-00F58D488592}" type="presOf" srcId="{23775CFB-2636-404A-9B62-DE21D380F3DD}" destId="{81A64861-5A27-4003-9446-57357989A322}" srcOrd="0" destOrd="0" presId="urn:microsoft.com/office/officeart/2005/8/layout/hierarchy3"/>
    <dgm:cxn modelId="{98058C83-4A22-44DD-BD1D-D51A4E026B11}" srcId="{492B5CE9-B648-4336-8BED-E226EF2B21D9}" destId="{74C654ED-D8E2-4135-9DB5-7A43ED517377}" srcOrd="1" destOrd="0" parTransId="{AD1DCA32-722F-4931-815D-3B919CFE2578}" sibTransId="{46A6B5FC-2599-4768-A466-ABEA09691AC9}"/>
    <dgm:cxn modelId="{F868F584-9767-4456-8B54-5D470F7F7E96}" srcId="{A88B2F79-1DEA-46FB-A4AE-9E398432E130}" destId="{41CD0FC5-E160-4C2C-B4DE-AC54FF3EF463}" srcOrd="5" destOrd="0" parTransId="{8B1E9363-1700-4943-849F-571489417329}" sibTransId="{DB31AFE6-1820-428D-A18E-C6E959FD0D21}"/>
    <dgm:cxn modelId="{7CFD6385-2512-489A-AD0C-9F05C6D3E0C3}" type="presOf" srcId="{631741A9-D175-430A-9294-645721A53968}" destId="{3DCF3D40-45EA-42E7-9BC8-807258FB4B11}" srcOrd="0" destOrd="0" presId="urn:microsoft.com/office/officeart/2005/8/layout/hierarchy3"/>
    <dgm:cxn modelId="{76B96689-FD86-41BB-AAF2-AF910CD5EDB1}" type="presOf" srcId="{550E467F-735A-4F49-A3C4-3063AC6F4A31}" destId="{CD9930CB-6141-478C-95A5-8F101DAB5B7A}" srcOrd="0" destOrd="0" presId="urn:microsoft.com/office/officeart/2005/8/layout/hierarchy3"/>
    <dgm:cxn modelId="{79F1EA8A-3C96-4A2C-822D-C1743BF97FD1}" type="presOf" srcId="{F6EEA959-9F5B-4962-933E-3A4E6D4E42A5}" destId="{604CFB17-08AF-4958-A713-FF225B4332A3}" srcOrd="0" destOrd="0" presId="urn:microsoft.com/office/officeart/2005/8/layout/hierarchy3"/>
    <dgm:cxn modelId="{D2BE1F8D-0903-4906-9B9B-6E691941C4D0}" type="presOf" srcId="{41CD0FC5-E160-4C2C-B4DE-AC54FF3EF463}" destId="{BDC210A9-5F6B-4A24-8181-45362043AE2C}" srcOrd="0" destOrd="0" presId="urn:microsoft.com/office/officeart/2005/8/layout/hierarchy3"/>
    <dgm:cxn modelId="{9FF7078F-0CDF-4CE8-813B-03432F4B4487}" srcId="{BCB7ACFF-E415-47F3-8223-75C6CB94BAD8}" destId="{0B119E02-88C2-4BBC-AF60-0C05F1088DAA}" srcOrd="4" destOrd="0" parTransId="{3EE9DBCE-1BD5-41A0-A19E-C9D02E85A8BE}" sibTransId="{B88C95D1-526C-4D33-AB93-9DA959060742}"/>
    <dgm:cxn modelId="{441EA290-4B91-4A27-93C1-DEE044D4CE1E}" type="presOf" srcId="{DD189E00-BB77-4DBC-A91D-CCFB826A9350}" destId="{C9EA45BD-66D0-499A-BC6D-D1DF43725BF6}" srcOrd="0" destOrd="0" presId="urn:microsoft.com/office/officeart/2005/8/layout/hierarchy3"/>
    <dgm:cxn modelId="{DBE09F93-0E7D-4785-9A3C-28757B81D2AB}" type="presOf" srcId="{782B8E51-90F2-476A-8B3E-85BF9B0B4748}" destId="{EE709107-E215-46D1-9612-2F84D815A55E}" srcOrd="0" destOrd="0" presId="urn:microsoft.com/office/officeart/2005/8/layout/hierarchy3"/>
    <dgm:cxn modelId="{58BAEA93-9F36-46EC-841A-54E3EB4B2D7C}" srcId="{E6552B51-F25D-4726-9EF3-9BAB070DCB57}" destId="{41D62ACA-9362-487E-A4A7-C00B8FB61CB3}" srcOrd="0" destOrd="0" parTransId="{367508C5-41C6-4C36-B107-85694AD01FB2}" sibTransId="{149F719D-3CD3-4FEF-856F-1066BC9CD122}"/>
    <dgm:cxn modelId="{D14B4F94-368E-404F-B78D-5A8CEFF97F4F}" srcId="{E6552B51-F25D-4726-9EF3-9BAB070DCB57}" destId="{DA2CCD33-6043-4C82-8486-3EC787FB0C7E}" srcOrd="1" destOrd="0" parTransId="{66647D8D-DC0D-4044-917A-0DC11F601CB8}" sibTransId="{2B2384A1-0354-497F-A834-8F50DCDF017F}"/>
    <dgm:cxn modelId="{22DC0F99-43D3-4772-984D-E9292FBE12AC}" srcId="{2D249B44-E216-49FD-88CB-FF72677A8A29}" destId="{BCB7ACFF-E415-47F3-8223-75C6CB94BAD8}" srcOrd="4" destOrd="0" parTransId="{8D64C20D-EE12-4FD6-A029-AE77EA9466E4}" sibTransId="{7AA9E4E8-34B9-4BE0-8079-C53809D6EC35}"/>
    <dgm:cxn modelId="{959B139A-BD78-4B4C-9613-C6E2DB146F23}" type="presOf" srcId="{66647D8D-DC0D-4044-917A-0DC11F601CB8}" destId="{B3326C00-9B5C-4143-8A65-0F09AEDFDB71}" srcOrd="0" destOrd="0" presId="urn:microsoft.com/office/officeart/2005/8/layout/hierarchy3"/>
    <dgm:cxn modelId="{F0A5CAA0-F0BA-4A16-8915-144CAF8865D6}" type="presOf" srcId="{B2B155F1-871D-4AC1-9D11-7031A6419A09}" destId="{065E05F3-0CAB-4AB7-9CB5-34C405F21307}" srcOrd="0" destOrd="0" presId="urn:microsoft.com/office/officeart/2005/8/layout/hierarchy3"/>
    <dgm:cxn modelId="{BABB06A1-CCA8-4CAC-AE2B-383DF2E1291E}" srcId="{21CB2745-3FDC-4C68-B838-8F08FE376801}" destId="{544D5456-B19C-4E98-8194-DE90182DD09F}" srcOrd="3" destOrd="0" parTransId="{5716DA5A-F06B-4EFE-B44D-DEF9D1744688}" sibTransId="{E0C5F768-D545-45A9-8BBB-075AD17D9F18}"/>
    <dgm:cxn modelId="{FD3E2AA1-9687-43EE-BF1F-C40328BFF395}" type="presOf" srcId="{F384E1A6-6BCC-405C-8CB6-60BF087CC941}" destId="{475FBF9B-0A2F-4D0E-963A-71ABB28D1BAF}" srcOrd="0" destOrd="0" presId="urn:microsoft.com/office/officeart/2005/8/layout/hierarchy3"/>
    <dgm:cxn modelId="{E6847DA1-88E5-4EAE-B45A-1825FF6C5DCC}" type="presOf" srcId="{9A30EADD-2247-4721-8F6B-950C570F2744}" destId="{65F63A20-A4BC-4C40-9D68-5DCC8ED5E903}" srcOrd="0" destOrd="0" presId="urn:microsoft.com/office/officeart/2005/8/layout/hierarchy3"/>
    <dgm:cxn modelId="{E03092A8-F0DA-4688-924D-8347663E2A8D}" type="presOf" srcId="{B11BF6D4-CD18-41D5-B6A4-FDA07D571875}" destId="{9D8B9369-19B6-4BCA-B5D9-347150C433E6}" srcOrd="0" destOrd="0" presId="urn:microsoft.com/office/officeart/2005/8/layout/hierarchy3"/>
    <dgm:cxn modelId="{B9C447AB-4378-4645-B872-CD54C4E0848A}" srcId="{BCB7ACFF-E415-47F3-8223-75C6CB94BAD8}" destId="{7F664BCA-88C1-46A4-A920-D218D2B3E65D}" srcOrd="1" destOrd="0" parTransId="{A363AFFE-9F1C-4DAE-9828-1D2B31C5FA89}" sibTransId="{0C93B9B0-912F-4BC7-AAFE-65D38CD89E67}"/>
    <dgm:cxn modelId="{556ACEAC-21D8-47A1-BA5D-2557485FF7E2}" type="presOf" srcId="{6A687538-CFEB-4B59-9817-DD834E0A5690}" destId="{287A4EA9-D814-4ABF-BC19-7544579B7182}" srcOrd="0" destOrd="0" presId="urn:microsoft.com/office/officeart/2005/8/layout/hierarchy3"/>
    <dgm:cxn modelId="{F7EBB7AF-F99E-4EC9-9779-795AF2A8DC72}" type="presOf" srcId="{B932AAA4-9CCB-4F4B-B281-72F5D1E6CD4C}" destId="{2EDCBD85-4246-4159-99C5-E4731D88A2DB}" srcOrd="0" destOrd="0" presId="urn:microsoft.com/office/officeart/2005/8/layout/hierarchy3"/>
    <dgm:cxn modelId="{6E8E07B4-8FDA-41D4-BD30-F01E5D9927C7}" type="presOf" srcId="{BCB7ACFF-E415-47F3-8223-75C6CB94BAD8}" destId="{5295DC4E-F85B-42F2-A332-0543DC932F23}" srcOrd="0" destOrd="0" presId="urn:microsoft.com/office/officeart/2005/8/layout/hierarchy3"/>
    <dgm:cxn modelId="{C00487B6-F041-4A1D-9CC0-578E028C62FB}" srcId="{782B8E51-90F2-476A-8B3E-85BF9B0B4748}" destId="{AE2AFAD9-9944-4D01-9983-A7AE0D499C20}" srcOrd="0" destOrd="0" parTransId="{DFD1957C-3EEF-4EDA-86F9-1C950BD33CDC}" sibTransId="{5C588E0A-8F1E-4336-A9B5-89C1F6BA359A}"/>
    <dgm:cxn modelId="{CCDEF8B7-3ABA-4920-B01B-295F5F426036}" srcId="{A88B2F79-1DEA-46FB-A4AE-9E398432E130}" destId="{18B952C2-7FC1-4499-9613-23BA16DD4F79}" srcOrd="2" destOrd="0" parTransId="{6A687538-CFEB-4B59-9817-DD834E0A5690}" sibTransId="{E2E32999-875A-4ED2-9FE2-619836F87963}"/>
    <dgm:cxn modelId="{793195B8-6ECB-4407-A1C6-F7CEC516BCDB}" type="presOf" srcId="{3EE9DBCE-1BD5-41A0-A19E-C9D02E85A8BE}" destId="{EBCE6F39-B8A1-4C7E-A3D0-FE148A02738E}" srcOrd="0" destOrd="0" presId="urn:microsoft.com/office/officeart/2005/8/layout/hierarchy3"/>
    <dgm:cxn modelId="{76734EBB-E635-4810-A26D-A6E961EE9F45}" type="presOf" srcId="{E261C6E2-0898-4B04-8FF0-DD6E71FB8351}" destId="{0848BA92-5848-4591-B8D7-13EEE889DFAC}" srcOrd="0" destOrd="0" presId="urn:microsoft.com/office/officeart/2005/8/layout/hierarchy3"/>
    <dgm:cxn modelId="{8AF578BB-D591-478A-A539-0E27CB01F37F}" srcId="{13801BF3-25EF-4E22-8F01-53E8E075284D}" destId="{56310A41-C6AB-4133-895D-68DBA65313D9}" srcOrd="3" destOrd="0" parTransId="{D82B777A-0D0D-46C7-A1F4-16D87B77FFEC}" sibTransId="{D45B67CB-61D9-4243-B4AC-59B10C1A05C6}"/>
    <dgm:cxn modelId="{1B449FBE-1ED2-4190-80B5-C4E8A1241634}" type="presOf" srcId="{3D00D393-43AB-41E5-B06D-AF0E5DB55A74}" destId="{584D0DAC-9003-4843-A5AC-1A4155676E0B}" srcOrd="0" destOrd="0" presId="urn:microsoft.com/office/officeart/2005/8/layout/hierarchy3"/>
    <dgm:cxn modelId="{CA6352BF-CF16-4CAA-9D49-EAD50A5272DD}" type="presOf" srcId="{492B5CE9-B648-4336-8BED-E226EF2B21D9}" destId="{BBABD7EE-A217-4053-97D8-1EDBCC2CB40E}" srcOrd="0" destOrd="0" presId="urn:microsoft.com/office/officeart/2005/8/layout/hierarchy3"/>
    <dgm:cxn modelId="{710233C6-836D-40BB-AB7F-D896337F48FD}" type="presOf" srcId="{891271CD-28A8-474B-A42E-D7D98ED0A0B7}" destId="{8690BF67-E076-49D6-8A9D-AFDB9B75AE72}" srcOrd="0" destOrd="0" presId="urn:microsoft.com/office/officeart/2005/8/layout/hierarchy3"/>
    <dgm:cxn modelId="{C230ABCB-8825-40AE-BD16-EFDCA6864A9C}" srcId="{A88B2F79-1DEA-46FB-A4AE-9E398432E130}" destId="{F6EEA959-9F5B-4962-933E-3A4E6D4E42A5}" srcOrd="3" destOrd="0" parTransId="{D5841A78-CE91-4349-A4E8-79CA13B1C7AF}" sibTransId="{AF2EC5CF-36C7-4860-990D-96C3499BF5BC}"/>
    <dgm:cxn modelId="{1819F7CD-58A0-4272-BCCF-9887162276BB}" type="presOf" srcId="{DA2CCD33-6043-4C82-8486-3EC787FB0C7E}" destId="{2CC1CA2F-CD36-44F9-A33E-D4B009350723}" srcOrd="0" destOrd="0" presId="urn:microsoft.com/office/officeart/2005/8/layout/hierarchy3"/>
    <dgm:cxn modelId="{503B00D0-DA91-44F9-B60C-8AE6580C571D}" srcId="{A88B2F79-1DEA-46FB-A4AE-9E398432E130}" destId="{3CDECE3D-ABF5-4972-A63A-92D8CCDC6971}" srcOrd="1" destOrd="0" parTransId="{C6035ECB-FEC8-4603-B834-94E473ED7729}" sibTransId="{AE60D60D-7C6A-4E84-8A00-147F2EA08842}"/>
    <dgm:cxn modelId="{A92F87D1-AAE6-4628-B617-8F2BC4B88579}" type="presOf" srcId="{782B8E51-90F2-476A-8B3E-85BF9B0B4748}" destId="{6DE43500-CA69-4EFA-947E-DAFD194101D7}" srcOrd="1" destOrd="0" presId="urn:microsoft.com/office/officeart/2005/8/layout/hierarchy3"/>
    <dgm:cxn modelId="{5983C6D1-8CCB-4B73-98E6-1E51CFBDFF7C}" type="presOf" srcId="{BABD5779-F68E-4DF4-B531-E5DEE2DDF44D}" destId="{46EA9A53-937B-4589-92FC-05A4A07D6F2C}" srcOrd="0" destOrd="0" presId="urn:microsoft.com/office/officeart/2005/8/layout/hierarchy3"/>
    <dgm:cxn modelId="{2DF71ED6-C740-45AC-B0D8-C0617EC7DAB2}" type="presOf" srcId="{22FB6D4B-5380-4471-9FB9-6CB1C63F1503}" destId="{448C27D1-6316-465E-A028-1B6090D06F1D}" srcOrd="0" destOrd="0" presId="urn:microsoft.com/office/officeart/2005/8/layout/hierarchy3"/>
    <dgm:cxn modelId="{138E35D6-0810-4EB2-B1AE-BF82CC516F74}" type="presOf" srcId="{C6035ECB-FEC8-4603-B834-94E473ED7729}" destId="{E41256D4-B435-4CE1-8D8C-1B8775D9501E}" srcOrd="0" destOrd="0" presId="urn:microsoft.com/office/officeart/2005/8/layout/hierarchy3"/>
    <dgm:cxn modelId="{AB0ABBD7-2B58-4837-AB7C-6C1770F6305E}" type="presOf" srcId="{A88B2F79-1DEA-46FB-A4AE-9E398432E130}" destId="{A2240285-9A50-4614-82C8-070A63EC9045}" srcOrd="0" destOrd="0" presId="urn:microsoft.com/office/officeart/2005/8/layout/hierarchy3"/>
    <dgm:cxn modelId="{C8A24DDA-079C-4098-B5A6-7D64519D6806}" type="presOf" srcId="{3CDECE3D-ABF5-4972-A63A-92D8CCDC6971}" destId="{72F4A89F-4175-490F-9DEC-663D31990162}" srcOrd="0" destOrd="0" presId="urn:microsoft.com/office/officeart/2005/8/layout/hierarchy3"/>
    <dgm:cxn modelId="{6474A6DD-9215-4AE5-9921-6678928E10A8}" srcId="{A88B2F79-1DEA-46FB-A4AE-9E398432E130}" destId="{D075FEE2-0523-437D-87A3-32EEAB8896E9}" srcOrd="0" destOrd="0" parTransId="{A2537A63-9B8C-48FA-9E81-07A978A7CD90}" sibTransId="{C18660E3-2FE1-44F4-A6AB-BC930D3635F2}"/>
    <dgm:cxn modelId="{795851E3-23E8-408C-955B-6A260D4D8B1C}" type="presOf" srcId="{21CB2745-3FDC-4C68-B838-8F08FE376801}" destId="{AF60D723-C84E-4783-A33B-18E76161C2D9}" srcOrd="0" destOrd="0" presId="urn:microsoft.com/office/officeart/2005/8/layout/hierarchy3"/>
    <dgm:cxn modelId="{61F1B5E5-EBD0-4405-A22E-EF9B345BAACC}" type="presOf" srcId="{E6552B51-F25D-4726-9EF3-9BAB070DCB57}" destId="{75AE63B5-7CD3-4C70-B57F-C36ABE19D8E6}" srcOrd="0" destOrd="0" presId="urn:microsoft.com/office/officeart/2005/8/layout/hierarchy3"/>
    <dgm:cxn modelId="{48C0DEE6-0055-433D-9B31-D564E77B1123}" type="presOf" srcId="{5A5F63CC-451C-4BD9-97AA-3FB79703932A}" destId="{E14A8FD6-FD46-4170-B83B-12168BE92AAC}" srcOrd="0" destOrd="0" presId="urn:microsoft.com/office/officeart/2005/8/layout/hierarchy3"/>
    <dgm:cxn modelId="{9706F6E6-33C0-408B-A9E8-FBC694405200}" type="presOf" srcId="{9B3A9664-5430-4EE0-824E-C41FD15F1F9A}" destId="{17586BDB-3108-46FA-A1F5-BE881CF13E80}" srcOrd="0" destOrd="0" presId="urn:microsoft.com/office/officeart/2005/8/layout/hierarchy3"/>
    <dgm:cxn modelId="{E254FEEE-F10E-409F-9E9B-E28245A85E90}" type="presOf" srcId="{24B39971-3E25-4005-BE34-740B44BB0090}" destId="{3721598A-C609-4FB6-B4A3-4E9281E43DDC}" srcOrd="0" destOrd="0" presId="urn:microsoft.com/office/officeart/2005/8/layout/hierarchy3"/>
    <dgm:cxn modelId="{31A121EF-C0E9-45E1-881D-836E289982BE}" type="presOf" srcId="{13801BF3-25EF-4E22-8F01-53E8E075284D}" destId="{93C0E7CD-FAC5-4F46-9392-BF01DAFEC06D}" srcOrd="1" destOrd="0" presId="urn:microsoft.com/office/officeart/2005/8/layout/hierarchy3"/>
    <dgm:cxn modelId="{B7F4A0EF-49E3-4F1E-9C00-93F2F9A0160E}" type="presOf" srcId="{D5B09AC0-CDBB-40C9-8DB4-195C3CD4B6C5}" destId="{AC09B3A9-EBB3-4097-93AA-CFF49A0F71FE}" srcOrd="0" destOrd="0" presId="urn:microsoft.com/office/officeart/2005/8/layout/hierarchy3"/>
    <dgm:cxn modelId="{646789F0-995A-4C3F-AC3D-259FA915A03F}" srcId="{E6552B51-F25D-4726-9EF3-9BAB070DCB57}" destId="{8CA6824D-13E5-4727-9D22-C7182F7B6E95}" srcOrd="3" destOrd="0" parTransId="{B2B155F1-871D-4AC1-9D11-7031A6419A09}" sibTransId="{9DA16C73-43C1-4E64-AADF-DA17C76B66C0}"/>
    <dgm:cxn modelId="{282841F2-865F-491C-956D-7BC5BAD270ED}" srcId="{BCB7ACFF-E415-47F3-8223-75C6CB94BAD8}" destId="{792C1470-D840-4C12-AF84-F8FE39630629}" srcOrd="3" destOrd="0" parTransId="{DD189E00-BB77-4DBC-A91D-CCFB826A9350}" sibTransId="{D6D998B3-2192-4083-B2DA-AFA15A4594B9}"/>
    <dgm:cxn modelId="{5F4AAFF3-34B5-4F83-BFFE-555368B1B261}" type="presOf" srcId="{0B119E02-88C2-4BBC-AF60-0C05F1088DAA}" destId="{BC294B1C-FFA3-4618-807B-D834239A9713}" srcOrd="0" destOrd="0" presId="urn:microsoft.com/office/officeart/2005/8/layout/hierarchy3"/>
    <dgm:cxn modelId="{AE8C1EF6-F349-423C-8BF6-A222202DBA27}" srcId="{2D249B44-E216-49FD-88CB-FF72677A8A29}" destId="{A88B2F79-1DEA-46FB-A4AE-9E398432E130}" srcOrd="3" destOrd="0" parTransId="{83D247EB-CB1A-421F-A616-6FA9C29B4466}" sibTransId="{985752DB-B091-48B9-8A58-1776B9C75C92}"/>
    <dgm:cxn modelId="{29AA98F7-2F73-4786-BFD0-7995F5310E82}" type="presOf" srcId="{DECD1889-8F0D-4396-9C6B-AB488ACDCC4D}" destId="{D889A515-191A-4982-AEEC-3ECE44CEC66F}" srcOrd="0" destOrd="0" presId="urn:microsoft.com/office/officeart/2005/8/layout/hierarchy3"/>
    <dgm:cxn modelId="{FBBD16FB-E1F9-470E-8E04-76EC021A6934}" srcId="{2D249B44-E216-49FD-88CB-FF72677A8A29}" destId="{492B5CE9-B648-4336-8BED-E226EF2B21D9}" srcOrd="1" destOrd="0" parTransId="{313F15D2-601F-44CB-8556-83127CE61E33}" sibTransId="{7E262BA0-CEAE-4385-9874-41EFF9118878}"/>
    <dgm:cxn modelId="{AD832EFB-52F4-463B-9FB1-A651FFF28D76}" srcId="{2D249B44-E216-49FD-88CB-FF72677A8A29}" destId="{782B8E51-90F2-476A-8B3E-85BF9B0B4748}" srcOrd="5" destOrd="0" parTransId="{1AC0E152-FB76-487B-8776-1FA62AE139E5}" sibTransId="{E394DFDC-5820-4CAB-833E-9249A5AC50C5}"/>
    <dgm:cxn modelId="{61DD3BFB-F4BE-4573-8EB1-01C30B8D739B}" type="presOf" srcId="{18B952C2-7FC1-4499-9613-23BA16DD4F79}" destId="{9C0B1FF7-37FF-4F21-8C17-0D95C3288AF5}" srcOrd="0" destOrd="0" presId="urn:microsoft.com/office/officeart/2005/8/layout/hierarchy3"/>
    <dgm:cxn modelId="{CD03B6FC-AB53-439E-A8C7-7EE501C62294}" srcId="{13801BF3-25EF-4E22-8F01-53E8E075284D}" destId="{B932AAA4-9CCB-4F4B-B281-72F5D1E6CD4C}" srcOrd="0" destOrd="0" parTransId="{B6619F60-FC83-413A-930C-79FA4958A5AE}" sibTransId="{5D859483-C7C8-4D13-B54A-190E85B811AD}"/>
    <dgm:cxn modelId="{7C3F4CFD-D684-4C2E-A374-14341FED601B}" type="presOf" srcId="{77FC3955-5FBA-480A-B01E-E4328EB4CC97}" destId="{B9BF76DD-4111-422C-96C9-72E6B7FD553A}" srcOrd="0" destOrd="0" presId="urn:microsoft.com/office/officeart/2005/8/layout/hierarchy3"/>
    <dgm:cxn modelId="{182B80D6-7AB3-4E05-9D70-248AEDA60C34}" type="presParOf" srcId="{CA638CDE-9F8D-4E6E-AFAB-25AF89218C08}" destId="{AF45A1BA-2C73-4C19-94B6-DF2A69A1A3DF}" srcOrd="0" destOrd="0" presId="urn:microsoft.com/office/officeart/2005/8/layout/hierarchy3"/>
    <dgm:cxn modelId="{077BB911-97D4-4DE7-80F3-9C2F86863751}" type="presParOf" srcId="{AF45A1BA-2C73-4C19-94B6-DF2A69A1A3DF}" destId="{513702B6-6D11-418F-A1E5-D486EE8EEE38}" srcOrd="0" destOrd="0" presId="urn:microsoft.com/office/officeart/2005/8/layout/hierarchy3"/>
    <dgm:cxn modelId="{DF3A7BC1-66F5-4EB6-ACE3-8C2AF2C2FA37}" type="presParOf" srcId="{513702B6-6D11-418F-A1E5-D486EE8EEE38}" destId="{75AE63B5-7CD3-4C70-B57F-C36ABE19D8E6}" srcOrd="0" destOrd="0" presId="urn:microsoft.com/office/officeart/2005/8/layout/hierarchy3"/>
    <dgm:cxn modelId="{04FEFD1B-61CF-4ADC-9887-1DC7682A6E0C}" type="presParOf" srcId="{513702B6-6D11-418F-A1E5-D486EE8EEE38}" destId="{626EF8ED-E427-4FA4-8BAF-1DC7EB9FE818}" srcOrd="1" destOrd="0" presId="urn:microsoft.com/office/officeart/2005/8/layout/hierarchy3"/>
    <dgm:cxn modelId="{B59D933B-00A4-4E76-9F62-EED09682D3F7}" type="presParOf" srcId="{AF45A1BA-2C73-4C19-94B6-DF2A69A1A3DF}" destId="{9A5CCDD6-AD9F-472B-958D-660718613EE3}" srcOrd="1" destOrd="0" presId="urn:microsoft.com/office/officeart/2005/8/layout/hierarchy3"/>
    <dgm:cxn modelId="{B2DDD2A6-BF0C-401A-80F2-7E78B50FFA3C}" type="presParOf" srcId="{9A5CCDD6-AD9F-472B-958D-660718613EE3}" destId="{23C12378-C5F6-4C2D-9CC4-EE18FF5C23CD}" srcOrd="0" destOrd="0" presId="urn:microsoft.com/office/officeart/2005/8/layout/hierarchy3"/>
    <dgm:cxn modelId="{7C1E0AA5-16BE-43C3-A231-6940B3834941}" type="presParOf" srcId="{9A5CCDD6-AD9F-472B-958D-660718613EE3}" destId="{D45D9E4D-A31F-405D-BB5B-B79286EF9EAA}" srcOrd="1" destOrd="0" presId="urn:microsoft.com/office/officeart/2005/8/layout/hierarchy3"/>
    <dgm:cxn modelId="{5EE39EA5-5D09-4E98-815F-E3B70B1399D2}" type="presParOf" srcId="{9A5CCDD6-AD9F-472B-958D-660718613EE3}" destId="{B3326C00-9B5C-4143-8A65-0F09AEDFDB71}" srcOrd="2" destOrd="0" presId="urn:microsoft.com/office/officeart/2005/8/layout/hierarchy3"/>
    <dgm:cxn modelId="{355CC722-2FDE-488C-B62B-00BB80A4A26A}" type="presParOf" srcId="{9A5CCDD6-AD9F-472B-958D-660718613EE3}" destId="{2CC1CA2F-CD36-44F9-A33E-D4B009350723}" srcOrd="3" destOrd="0" presId="urn:microsoft.com/office/officeart/2005/8/layout/hierarchy3"/>
    <dgm:cxn modelId="{0858AF24-A053-4A2F-8D97-08873C4F1DC7}" type="presParOf" srcId="{9A5CCDD6-AD9F-472B-958D-660718613EE3}" destId="{36B8ABE4-F642-40FC-866F-A8C98F84D8E2}" srcOrd="4" destOrd="0" presId="urn:microsoft.com/office/officeart/2005/8/layout/hierarchy3"/>
    <dgm:cxn modelId="{14944646-EE8D-44D0-A5FB-8B129FDA7CD1}" type="presParOf" srcId="{9A5CCDD6-AD9F-472B-958D-660718613EE3}" destId="{0848BA92-5848-4591-B8D7-13EEE889DFAC}" srcOrd="5" destOrd="0" presId="urn:microsoft.com/office/officeart/2005/8/layout/hierarchy3"/>
    <dgm:cxn modelId="{B59F32F8-01B9-4B9D-A8CA-5EEB31098810}" type="presParOf" srcId="{9A5CCDD6-AD9F-472B-958D-660718613EE3}" destId="{065E05F3-0CAB-4AB7-9CB5-34C405F21307}" srcOrd="6" destOrd="0" presId="urn:microsoft.com/office/officeart/2005/8/layout/hierarchy3"/>
    <dgm:cxn modelId="{B9E8A55C-63C8-4BA0-B585-67C8359D788B}" type="presParOf" srcId="{9A5CCDD6-AD9F-472B-958D-660718613EE3}" destId="{F7063A13-6F2A-4032-83CE-0CBFE825450D}" srcOrd="7" destOrd="0" presId="urn:microsoft.com/office/officeart/2005/8/layout/hierarchy3"/>
    <dgm:cxn modelId="{ABBD809B-7FD0-44B7-958A-F70B69C93242}" type="presParOf" srcId="{9A5CCDD6-AD9F-472B-958D-660718613EE3}" destId="{B9BF76DD-4111-422C-96C9-72E6B7FD553A}" srcOrd="8" destOrd="0" presId="urn:microsoft.com/office/officeart/2005/8/layout/hierarchy3"/>
    <dgm:cxn modelId="{4771CBF1-763C-4B23-A480-F8BF640AF0AF}" type="presParOf" srcId="{9A5CCDD6-AD9F-472B-958D-660718613EE3}" destId="{9CB0BBE8-B049-4A16-BA5F-F3F4806BE9BF}" srcOrd="9" destOrd="0" presId="urn:microsoft.com/office/officeart/2005/8/layout/hierarchy3"/>
    <dgm:cxn modelId="{BA8B5F8A-E502-46E4-B76C-9F8E7DED4CFF}" type="presParOf" srcId="{9A5CCDD6-AD9F-472B-958D-660718613EE3}" destId="{42AAE9D3-C5AF-462D-959E-EF5871DF43DA}" srcOrd="10" destOrd="0" presId="urn:microsoft.com/office/officeart/2005/8/layout/hierarchy3"/>
    <dgm:cxn modelId="{3C696453-5AE4-4092-8BCC-EE2096974304}" type="presParOf" srcId="{9A5CCDD6-AD9F-472B-958D-660718613EE3}" destId="{46EA9A53-937B-4589-92FC-05A4A07D6F2C}" srcOrd="11" destOrd="0" presId="urn:microsoft.com/office/officeart/2005/8/layout/hierarchy3"/>
    <dgm:cxn modelId="{FF4D96C0-AF4D-4357-8B21-3A0369A31954}" type="presParOf" srcId="{CA638CDE-9F8D-4E6E-AFAB-25AF89218C08}" destId="{37E2F362-8002-4DE7-8E55-7E5AF8A0A854}" srcOrd="1" destOrd="0" presId="urn:microsoft.com/office/officeart/2005/8/layout/hierarchy3"/>
    <dgm:cxn modelId="{1F000BB8-F2F7-44A8-8C18-3DE7AE1626CC}" type="presParOf" srcId="{37E2F362-8002-4DE7-8E55-7E5AF8A0A854}" destId="{B0C5AA94-9842-4BE4-9584-7FBF40BC59FC}" srcOrd="0" destOrd="0" presId="urn:microsoft.com/office/officeart/2005/8/layout/hierarchy3"/>
    <dgm:cxn modelId="{11383DC0-6442-4ECE-BB42-9C4C8B308E4E}" type="presParOf" srcId="{B0C5AA94-9842-4BE4-9584-7FBF40BC59FC}" destId="{BBABD7EE-A217-4053-97D8-1EDBCC2CB40E}" srcOrd="0" destOrd="0" presId="urn:microsoft.com/office/officeart/2005/8/layout/hierarchy3"/>
    <dgm:cxn modelId="{42FFC342-6E8D-4475-869B-4043635FC375}" type="presParOf" srcId="{B0C5AA94-9842-4BE4-9584-7FBF40BC59FC}" destId="{937A70E4-8D07-4384-BE76-574EFF44B0C4}" srcOrd="1" destOrd="0" presId="urn:microsoft.com/office/officeart/2005/8/layout/hierarchy3"/>
    <dgm:cxn modelId="{073A66E6-DE44-4B8F-8ED1-35ED04E4BD32}" type="presParOf" srcId="{37E2F362-8002-4DE7-8E55-7E5AF8A0A854}" destId="{E4ABDD8C-A87E-471C-9BE0-6B858469838B}" srcOrd="1" destOrd="0" presId="urn:microsoft.com/office/officeart/2005/8/layout/hierarchy3"/>
    <dgm:cxn modelId="{7A8E2F78-7DD1-4A8E-A1BC-A9F17F691F92}" type="presParOf" srcId="{E4ABDD8C-A87E-471C-9BE0-6B858469838B}" destId="{4C873FA2-F743-44CC-B3F8-20AB4B9DD391}" srcOrd="0" destOrd="0" presId="urn:microsoft.com/office/officeart/2005/8/layout/hierarchy3"/>
    <dgm:cxn modelId="{CC735B8C-6A70-4EA7-A1A9-CEF9E80EE075}" type="presParOf" srcId="{E4ABDD8C-A87E-471C-9BE0-6B858469838B}" destId="{AEB5F4F3-0273-4223-AC74-BE84CF3AC012}" srcOrd="1" destOrd="0" presId="urn:microsoft.com/office/officeart/2005/8/layout/hierarchy3"/>
    <dgm:cxn modelId="{A0B43BFE-79C0-414D-82F4-A600A50D38A2}" type="presParOf" srcId="{E4ABDD8C-A87E-471C-9BE0-6B858469838B}" destId="{51586B9C-85FB-4899-B4FF-F205C0BBA3F0}" srcOrd="2" destOrd="0" presId="urn:microsoft.com/office/officeart/2005/8/layout/hierarchy3"/>
    <dgm:cxn modelId="{A8C176BD-A72E-4C3F-8B0E-30D47BBD71A5}" type="presParOf" srcId="{E4ABDD8C-A87E-471C-9BE0-6B858469838B}" destId="{35FA5C41-A6BF-45CE-8E73-B7448D607955}" srcOrd="3" destOrd="0" presId="urn:microsoft.com/office/officeart/2005/8/layout/hierarchy3"/>
    <dgm:cxn modelId="{CD8E1188-D6BB-455B-8F61-48B6B558F5AB}" type="presParOf" srcId="{E4ABDD8C-A87E-471C-9BE0-6B858469838B}" destId="{81A64861-5A27-4003-9446-57357989A322}" srcOrd="4" destOrd="0" presId="urn:microsoft.com/office/officeart/2005/8/layout/hierarchy3"/>
    <dgm:cxn modelId="{6BC9EE8A-5E75-4E6B-8C4F-6881FF45833A}" type="presParOf" srcId="{E4ABDD8C-A87E-471C-9BE0-6B858469838B}" destId="{E14A8FD6-FD46-4170-B83B-12168BE92AAC}" srcOrd="5" destOrd="0" presId="urn:microsoft.com/office/officeart/2005/8/layout/hierarchy3"/>
    <dgm:cxn modelId="{DA6FE212-734D-4B6E-82AE-6F1A989785D7}" type="presParOf" srcId="{E4ABDD8C-A87E-471C-9BE0-6B858469838B}" destId="{6E66D4B2-96A1-400C-AC52-000FCD4EF449}" srcOrd="6" destOrd="0" presId="urn:microsoft.com/office/officeart/2005/8/layout/hierarchy3"/>
    <dgm:cxn modelId="{2B0B5193-EDAD-4142-A795-EC2E0CAE026E}" type="presParOf" srcId="{E4ABDD8C-A87E-471C-9BE0-6B858469838B}" destId="{FEAA0338-DBD3-4B8E-B3E0-949D36D41AFF}" srcOrd="7" destOrd="0" presId="urn:microsoft.com/office/officeart/2005/8/layout/hierarchy3"/>
    <dgm:cxn modelId="{CFD14791-882A-43CB-BF20-4E7FABE27E96}" type="presParOf" srcId="{CA638CDE-9F8D-4E6E-AFAB-25AF89218C08}" destId="{3D109573-63CC-4BB9-A61D-3FB83E33B3BA}" srcOrd="2" destOrd="0" presId="urn:microsoft.com/office/officeart/2005/8/layout/hierarchy3"/>
    <dgm:cxn modelId="{52D6FE83-C4DC-4DC1-9FCD-D6835EAF92F1}" type="presParOf" srcId="{3D109573-63CC-4BB9-A61D-3FB83E33B3BA}" destId="{A3563FC2-1F3A-475D-B565-C2AD0D7C6E98}" srcOrd="0" destOrd="0" presId="urn:microsoft.com/office/officeart/2005/8/layout/hierarchy3"/>
    <dgm:cxn modelId="{1D14885A-D229-4283-9525-3029A629B3CD}" type="presParOf" srcId="{A3563FC2-1F3A-475D-B565-C2AD0D7C6E98}" destId="{AF60D723-C84E-4783-A33B-18E76161C2D9}" srcOrd="0" destOrd="0" presId="urn:microsoft.com/office/officeart/2005/8/layout/hierarchy3"/>
    <dgm:cxn modelId="{2894922F-72E4-4A1B-8654-9F0464EE58BE}" type="presParOf" srcId="{A3563FC2-1F3A-475D-B565-C2AD0D7C6E98}" destId="{32DF47F8-B772-4615-9BAE-343A4B772D4F}" srcOrd="1" destOrd="0" presId="urn:microsoft.com/office/officeart/2005/8/layout/hierarchy3"/>
    <dgm:cxn modelId="{991160E2-C104-459F-876A-6E4996AF6F44}" type="presParOf" srcId="{3D109573-63CC-4BB9-A61D-3FB83E33B3BA}" destId="{3FE760A7-36DB-4855-9122-F32DB507C973}" srcOrd="1" destOrd="0" presId="urn:microsoft.com/office/officeart/2005/8/layout/hierarchy3"/>
    <dgm:cxn modelId="{BB8FBD2B-D62C-43D8-A087-65AD33084D18}" type="presParOf" srcId="{3FE760A7-36DB-4855-9122-F32DB507C973}" destId="{E1D911B7-DF78-4BF5-9787-0C3D10C179D2}" srcOrd="0" destOrd="0" presId="urn:microsoft.com/office/officeart/2005/8/layout/hierarchy3"/>
    <dgm:cxn modelId="{4E46ED0F-EDBA-48E1-8677-102A3A1108BE}" type="presParOf" srcId="{3FE760A7-36DB-4855-9122-F32DB507C973}" destId="{9D8B9369-19B6-4BCA-B5D9-347150C433E6}" srcOrd="1" destOrd="0" presId="urn:microsoft.com/office/officeart/2005/8/layout/hierarchy3"/>
    <dgm:cxn modelId="{38E35DA5-A98E-4690-9E6A-773A5DA1BFA3}" type="presParOf" srcId="{3FE760A7-36DB-4855-9122-F32DB507C973}" destId="{93BF51D4-094B-4B6F-907E-9E7BBAC35BB7}" srcOrd="2" destOrd="0" presId="urn:microsoft.com/office/officeart/2005/8/layout/hierarchy3"/>
    <dgm:cxn modelId="{E712E6BD-996D-479A-A92C-3A2D80EE7512}" type="presParOf" srcId="{3FE760A7-36DB-4855-9122-F32DB507C973}" destId="{584D0DAC-9003-4843-A5AC-1A4155676E0B}" srcOrd="3" destOrd="0" presId="urn:microsoft.com/office/officeart/2005/8/layout/hierarchy3"/>
    <dgm:cxn modelId="{A3FB74FC-5A52-44A9-8CA5-A0FC1E96A82B}" type="presParOf" srcId="{3FE760A7-36DB-4855-9122-F32DB507C973}" destId="{475FBF9B-0A2F-4D0E-963A-71ABB28D1BAF}" srcOrd="4" destOrd="0" presId="urn:microsoft.com/office/officeart/2005/8/layout/hierarchy3"/>
    <dgm:cxn modelId="{5C93CA30-C842-4610-9408-311A22F15FE8}" type="presParOf" srcId="{3FE760A7-36DB-4855-9122-F32DB507C973}" destId="{8690BF67-E076-49D6-8A9D-AFDB9B75AE72}" srcOrd="5" destOrd="0" presId="urn:microsoft.com/office/officeart/2005/8/layout/hierarchy3"/>
    <dgm:cxn modelId="{35BA874C-E4C4-46BC-8B29-E31165EA4021}" type="presParOf" srcId="{3FE760A7-36DB-4855-9122-F32DB507C973}" destId="{4B9C3C19-2230-4B6D-840B-61BCDC05BAB1}" srcOrd="6" destOrd="0" presId="urn:microsoft.com/office/officeart/2005/8/layout/hierarchy3"/>
    <dgm:cxn modelId="{C1ADF5BE-5BDD-429D-852C-04276807AB39}" type="presParOf" srcId="{3FE760A7-36DB-4855-9122-F32DB507C973}" destId="{3956F642-C0CD-413E-A5BE-E9A1040B8205}" srcOrd="7" destOrd="0" presId="urn:microsoft.com/office/officeart/2005/8/layout/hierarchy3"/>
    <dgm:cxn modelId="{86BD2E3D-9117-471A-8CC2-62C30778B022}" type="presParOf" srcId="{3FE760A7-36DB-4855-9122-F32DB507C973}" destId="{448C27D1-6316-465E-A028-1B6090D06F1D}" srcOrd="8" destOrd="0" presId="urn:microsoft.com/office/officeart/2005/8/layout/hierarchy3"/>
    <dgm:cxn modelId="{02370A96-7B11-412F-895A-676B310B51FF}" type="presParOf" srcId="{3FE760A7-36DB-4855-9122-F32DB507C973}" destId="{17586BDB-3108-46FA-A1F5-BE881CF13E80}" srcOrd="9" destOrd="0" presId="urn:microsoft.com/office/officeart/2005/8/layout/hierarchy3"/>
    <dgm:cxn modelId="{839C63CD-2FC6-46CC-937D-3CA7CA686E08}" type="presParOf" srcId="{3FE760A7-36DB-4855-9122-F32DB507C973}" destId="{CD9930CB-6141-478C-95A5-8F101DAB5B7A}" srcOrd="10" destOrd="0" presId="urn:microsoft.com/office/officeart/2005/8/layout/hierarchy3"/>
    <dgm:cxn modelId="{31C44653-BED4-4C9A-80CC-3174635A67F3}" type="presParOf" srcId="{3FE760A7-36DB-4855-9122-F32DB507C973}" destId="{5C5C61A1-E544-480E-BEC3-ABD85E08B779}" srcOrd="11" destOrd="0" presId="urn:microsoft.com/office/officeart/2005/8/layout/hierarchy3"/>
    <dgm:cxn modelId="{393ECEB8-9B36-40BC-B7EB-B17EA4848C80}" type="presParOf" srcId="{CA638CDE-9F8D-4E6E-AFAB-25AF89218C08}" destId="{4449AE7D-CFB6-4B11-9CBA-7551877921A5}" srcOrd="3" destOrd="0" presId="urn:microsoft.com/office/officeart/2005/8/layout/hierarchy3"/>
    <dgm:cxn modelId="{8831C17A-77B2-45E6-B43D-4185F989C8D8}" type="presParOf" srcId="{4449AE7D-CFB6-4B11-9CBA-7551877921A5}" destId="{DC159060-9AFD-408D-8BC2-57DBAD011F89}" srcOrd="0" destOrd="0" presId="urn:microsoft.com/office/officeart/2005/8/layout/hierarchy3"/>
    <dgm:cxn modelId="{BBCA6F60-DEC7-48EA-BE33-7A1E765116EF}" type="presParOf" srcId="{DC159060-9AFD-408D-8BC2-57DBAD011F89}" destId="{A2240285-9A50-4614-82C8-070A63EC9045}" srcOrd="0" destOrd="0" presId="urn:microsoft.com/office/officeart/2005/8/layout/hierarchy3"/>
    <dgm:cxn modelId="{464E55EC-513D-461A-8E21-46526328F0C7}" type="presParOf" srcId="{DC159060-9AFD-408D-8BC2-57DBAD011F89}" destId="{D79548CE-D6A0-4E4B-B1A5-BC45CC9EF975}" srcOrd="1" destOrd="0" presId="urn:microsoft.com/office/officeart/2005/8/layout/hierarchy3"/>
    <dgm:cxn modelId="{89874885-3A73-4E5B-9B4F-8C7618124E79}" type="presParOf" srcId="{4449AE7D-CFB6-4B11-9CBA-7551877921A5}" destId="{6039936D-6EFB-4D41-9BBD-61E3CDA2FEF8}" srcOrd="1" destOrd="0" presId="urn:microsoft.com/office/officeart/2005/8/layout/hierarchy3"/>
    <dgm:cxn modelId="{E30FC3DD-A724-4F7F-AAEA-5CAE9AD1444C}" type="presParOf" srcId="{6039936D-6EFB-4D41-9BBD-61E3CDA2FEF8}" destId="{274DE616-B393-4E2F-8106-B3AE501CA4C7}" srcOrd="0" destOrd="0" presId="urn:microsoft.com/office/officeart/2005/8/layout/hierarchy3"/>
    <dgm:cxn modelId="{F1A7D4BD-EAC2-4820-B45B-E5083AAA5D93}" type="presParOf" srcId="{6039936D-6EFB-4D41-9BBD-61E3CDA2FEF8}" destId="{EC362925-EFC7-4FBC-88A0-8AD984837F25}" srcOrd="1" destOrd="0" presId="urn:microsoft.com/office/officeart/2005/8/layout/hierarchy3"/>
    <dgm:cxn modelId="{B29A3B58-A718-4977-9F11-41A37A99F10E}" type="presParOf" srcId="{6039936D-6EFB-4D41-9BBD-61E3CDA2FEF8}" destId="{E41256D4-B435-4CE1-8D8C-1B8775D9501E}" srcOrd="2" destOrd="0" presId="urn:microsoft.com/office/officeart/2005/8/layout/hierarchy3"/>
    <dgm:cxn modelId="{0F1B1358-3F65-4FF8-8077-AFC077F0B21C}" type="presParOf" srcId="{6039936D-6EFB-4D41-9BBD-61E3CDA2FEF8}" destId="{72F4A89F-4175-490F-9DEC-663D31990162}" srcOrd="3" destOrd="0" presId="urn:microsoft.com/office/officeart/2005/8/layout/hierarchy3"/>
    <dgm:cxn modelId="{256723BA-B42D-4D3C-A758-F3279B838473}" type="presParOf" srcId="{6039936D-6EFB-4D41-9BBD-61E3CDA2FEF8}" destId="{287A4EA9-D814-4ABF-BC19-7544579B7182}" srcOrd="4" destOrd="0" presId="urn:microsoft.com/office/officeart/2005/8/layout/hierarchy3"/>
    <dgm:cxn modelId="{62F90C80-C1C6-4471-9F7C-548DCF920455}" type="presParOf" srcId="{6039936D-6EFB-4D41-9BBD-61E3CDA2FEF8}" destId="{9C0B1FF7-37FF-4F21-8C17-0D95C3288AF5}" srcOrd="5" destOrd="0" presId="urn:microsoft.com/office/officeart/2005/8/layout/hierarchy3"/>
    <dgm:cxn modelId="{F878244A-B929-4773-8171-762982936341}" type="presParOf" srcId="{6039936D-6EFB-4D41-9BBD-61E3CDA2FEF8}" destId="{176AFAB8-37E3-46F8-A0C3-22E65F442DC4}" srcOrd="6" destOrd="0" presId="urn:microsoft.com/office/officeart/2005/8/layout/hierarchy3"/>
    <dgm:cxn modelId="{31431BF8-2096-41A7-A897-93108C5468E4}" type="presParOf" srcId="{6039936D-6EFB-4D41-9BBD-61E3CDA2FEF8}" destId="{604CFB17-08AF-4958-A713-FF225B4332A3}" srcOrd="7" destOrd="0" presId="urn:microsoft.com/office/officeart/2005/8/layout/hierarchy3"/>
    <dgm:cxn modelId="{C1CF28A6-31BD-4B2B-BB5E-5F96FEED11E0}" type="presParOf" srcId="{6039936D-6EFB-4D41-9BBD-61E3CDA2FEF8}" destId="{D889A515-191A-4982-AEEC-3ECE44CEC66F}" srcOrd="8" destOrd="0" presId="urn:microsoft.com/office/officeart/2005/8/layout/hierarchy3"/>
    <dgm:cxn modelId="{E30D3DCD-3FCB-4A1E-9400-449B9A287630}" type="presParOf" srcId="{6039936D-6EFB-4D41-9BBD-61E3CDA2FEF8}" destId="{C03C7241-7E4E-4347-A849-02021AA566B9}" srcOrd="9" destOrd="0" presId="urn:microsoft.com/office/officeart/2005/8/layout/hierarchy3"/>
    <dgm:cxn modelId="{9CB657D0-D921-4031-9CBE-0D9BDE6FF667}" type="presParOf" srcId="{6039936D-6EFB-4D41-9BBD-61E3CDA2FEF8}" destId="{47CFE48C-BF98-4138-91BD-5F57B600C64A}" srcOrd="10" destOrd="0" presId="urn:microsoft.com/office/officeart/2005/8/layout/hierarchy3"/>
    <dgm:cxn modelId="{8AAB87C8-9914-41AE-AAEB-C4395B204418}" type="presParOf" srcId="{6039936D-6EFB-4D41-9BBD-61E3CDA2FEF8}" destId="{BDC210A9-5F6B-4A24-8181-45362043AE2C}" srcOrd="11" destOrd="0" presId="urn:microsoft.com/office/officeart/2005/8/layout/hierarchy3"/>
    <dgm:cxn modelId="{D5F9343C-F48D-423F-92AE-C535E8920EFC}" type="presParOf" srcId="{CA638CDE-9F8D-4E6E-AFAB-25AF89218C08}" destId="{AC409765-3CEE-4D41-A932-7056728F3102}" srcOrd="4" destOrd="0" presId="urn:microsoft.com/office/officeart/2005/8/layout/hierarchy3"/>
    <dgm:cxn modelId="{0CBDC524-9956-4877-88CB-C6B75907B28D}" type="presParOf" srcId="{AC409765-3CEE-4D41-A932-7056728F3102}" destId="{14DC976A-2F93-4011-89B7-558BDF85CE5A}" srcOrd="0" destOrd="0" presId="urn:microsoft.com/office/officeart/2005/8/layout/hierarchy3"/>
    <dgm:cxn modelId="{A4B977E3-B040-46CA-AFAD-32A4957AEA9A}" type="presParOf" srcId="{14DC976A-2F93-4011-89B7-558BDF85CE5A}" destId="{5295DC4E-F85B-42F2-A332-0543DC932F23}" srcOrd="0" destOrd="0" presId="urn:microsoft.com/office/officeart/2005/8/layout/hierarchy3"/>
    <dgm:cxn modelId="{60C7E8F7-BD56-4B94-9063-C2527EB81824}" type="presParOf" srcId="{14DC976A-2F93-4011-89B7-558BDF85CE5A}" destId="{A44A81B6-E59C-4C22-B140-B52C117B4CA8}" srcOrd="1" destOrd="0" presId="urn:microsoft.com/office/officeart/2005/8/layout/hierarchy3"/>
    <dgm:cxn modelId="{C85F13B5-8727-4730-8AFA-421FB6421BBC}" type="presParOf" srcId="{AC409765-3CEE-4D41-A932-7056728F3102}" destId="{05C58286-FE07-4178-A88C-20AE6DEAD300}" srcOrd="1" destOrd="0" presId="urn:microsoft.com/office/officeart/2005/8/layout/hierarchy3"/>
    <dgm:cxn modelId="{C3A594D9-9EB3-42E5-9436-76EB3AA9E850}" type="presParOf" srcId="{05C58286-FE07-4178-A88C-20AE6DEAD300}" destId="{3DCF3D40-45EA-42E7-9BC8-807258FB4B11}" srcOrd="0" destOrd="0" presId="urn:microsoft.com/office/officeart/2005/8/layout/hierarchy3"/>
    <dgm:cxn modelId="{02142C6F-C89F-4F3A-8237-BB7A8A7025D6}" type="presParOf" srcId="{05C58286-FE07-4178-A88C-20AE6DEAD300}" destId="{38F03441-419B-4B7F-B19F-502C5D3E0BDA}" srcOrd="1" destOrd="0" presId="urn:microsoft.com/office/officeart/2005/8/layout/hierarchy3"/>
    <dgm:cxn modelId="{CB75FFF7-B708-4BFD-9C6B-57AD28DABABE}" type="presParOf" srcId="{05C58286-FE07-4178-A88C-20AE6DEAD300}" destId="{9CF1185A-3CBC-4C97-8BC9-B087238FD49F}" srcOrd="2" destOrd="0" presId="urn:microsoft.com/office/officeart/2005/8/layout/hierarchy3"/>
    <dgm:cxn modelId="{C8A07D68-66DA-4E17-9749-9B8286AF0BA7}" type="presParOf" srcId="{05C58286-FE07-4178-A88C-20AE6DEAD300}" destId="{12C4F2F0-551E-4A51-B529-03E5C64C3DCE}" srcOrd="3" destOrd="0" presId="urn:microsoft.com/office/officeart/2005/8/layout/hierarchy3"/>
    <dgm:cxn modelId="{7C534DD7-FE9C-4649-9C49-02CC3D6EF5D6}" type="presParOf" srcId="{05C58286-FE07-4178-A88C-20AE6DEAD300}" destId="{6C5AE948-5787-4F20-A26F-C5CD8C100973}" srcOrd="4" destOrd="0" presId="urn:microsoft.com/office/officeart/2005/8/layout/hierarchy3"/>
    <dgm:cxn modelId="{2EFC72CC-3FC8-465A-AAA6-6380B8083C6F}" type="presParOf" srcId="{05C58286-FE07-4178-A88C-20AE6DEAD300}" destId="{28B8AFEB-E153-4089-A140-3A2DAF7CE74F}" srcOrd="5" destOrd="0" presId="urn:microsoft.com/office/officeart/2005/8/layout/hierarchy3"/>
    <dgm:cxn modelId="{0885900B-D3E8-475B-A490-04CDFB40EE9A}" type="presParOf" srcId="{05C58286-FE07-4178-A88C-20AE6DEAD300}" destId="{C9EA45BD-66D0-499A-BC6D-D1DF43725BF6}" srcOrd="6" destOrd="0" presId="urn:microsoft.com/office/officeart/2005/8/layout/hierarchy3"/>
    <dgm:cxn modelId="{34475644-37DB-492E-92A2-C19EFEE28AAB}" type="presParOf" srcId="{05C58286-FE07-4178-A88C-20AE6DEAD300}" destId="{CBB1B048-9345-4B7C-A23A-2F177E4125AD}" srcOrd="7" destOrd="0" presId="urn:microsoft.com/office/officeart/2005/8/layout/hierarchy3"/>
    <dgm:cxn modelId="{245E3791-7690-4E82-980D-A031ABAFE905}" type="presParOf" srcId="{05C58286-FE07-4178-A88C-20AE6DEAD300}" destId="{EBCE6F39-B8A1-4C7E-A3D0-FE148A02738E}" srcOrd="8" destOrd="0" presId="urn:microsoft.com/office/officeart/2005/8/layout/hierarchy3"/>
    <dgm:cxn modelId="{4BC39146-F908-42CC-8354-6CFCC6028CF9}" type="presParOf" srcId="{05C58286-FE07-4178-A88C-20AE6DEAD300}" destId="{BC294B1C-FFA3-4618-807B-D834239A9713}" srcOrd="9" destOrd="0" presId="urn:microsoft.com/office/officeart/2005/8/layout/hierarchy3"/>
    <dgm:cxn modelId="{36DFE981-FDF0-4E2E-8CDD-40A50636C4C4}" type="presParOf" srcId="{CA638CDE-9F8D-4E6E-AFAB-25AF89218C08}" destId="{E2DC9FFC-E21B-4CC0-B322-89CB4BD0E8E0}" srcOrd="5" destOrd="0" presId="urn:microsoft.com/office/officeart/2005/8/layout/hierarchy3"/>
    <dgm:cxn modelId="{BF375C99-56AC-4F76-A603-22682E277626}" type="presParOf" srcId="{E2DC9FFC-E21B-4CC0-B322-89CB4BD0E8E0}" destId="{8EE5B374-611C-4CBC-A681-30577B31A72E}" srcOrd="0" destOrd="0" presId="urn:microsoft.com/office/officeart/2005/8/layout/hierarchy3"/>
    <dgm:cxn modelId="{6F8775CB-6D58-4DC7-9129-06A0DB143CBC}" type="presParOf" srcId="{8EE5B374-611C-4CBC-A681-30577B31A72E}" destId="{EE709107-E215-46D1-9612-2F84D815A55E}" srcOrd="0" destOrd="0" presId="urn:microsoft.com/office/officeart/2005/8/layout/hierarchy3"/>
    <dgm:cxn modelId="{55B5ADC5-C520-413C-96FD-39E53FCDA57C}" type="presParOf" srcId="{8EE5B374-611C-4CBC-A681-30577B31A72E}" destId="{6DE43500-CA69-4EFA-947E-DAFD194101D7}" srcOrd="1" destOrd="0" presId="urn:microsoft.com/office/officeart/2005/8/layout/hierarchy3"/>
    <dgm:cxn modelId="{09135DF9-D7D6-4273-B9EA-E5BC756620C6}" type="presParOf" srcId="{E2DC9FFC-E21B-4CC0-B322-89CB4BD0E8E0}" destId="{FAFB9FCB-FC2F-42EC-BC3C-E7B7A577E5F0}" srcOrd="1" destOrd="0" presId="urn:microsoft.com/office/officeart/2005/8/layout/hierarchy3"/>
    <dgm:cxn modelId="{CA4989B5-9C7A-468B-95B6-C2914B3AAA8A}" type="presParOf" srcId="{FAFB9FCB-FC2F-42EC-BC3C-E7B7A577E5F0}" destId="{A5B4C93F-952C-431E-86DA-15B1D2DE6380}" srcOrd="0" destOrd="0" presId="urn:microsoft.com/office/officeart/2005/8/layout/hierarchy3"/>
    <dgm:cxn modelId="{36E2424C-BE58-4D1D-B675-9B96495F3578}" type="presParOf" srcId="{FAFB9FCB-FC2F-42EC-BC3C-E7B7A577E5F0}" destId="{94024552-8157-4BBB-AB1C-102BB7F5E882}" srcOrd="1" destOrd="0" presId="urn:microsoft.com/office/officeart/2005/8/layout/hierarchy3"/>
    <dgm:cxn modelId="{B3C4D952-8AD5-4E54-A7B4-FEA99C2F6733}" type="presParOf" srcId="{FAFB9FCB-FC2F-42EC-BC3C-E7B7A577E5F0}" destId="{03DEDCD0-EEB6-4B6B-ABBF-A13F5B99032F}" srcOrd="2" destOrd="0" presId="urn:microsoft.com/office/officeart/2005/8/layout/hierarchy3"/>
    <dgm:cxn modelId="{9ADA629B-8E11-4130-8443-9217D666D4F3}" type="presParOf" srcId="{FAFB9FCB-FC2F-42EC-BC3C-E7B7A577E5F0}" destId="{3721598A-C609-4FB6-B4A3-4E9281E43DDC}" srcOrd="3" destOrd="0" presId="urn:microsoft.com/office/officeart/2005/8/layout/hierarchy3"/>
    <dgm:cxn modelId="{6E582041-B0E3-422B-B98F-445C0E7E2C72}" type="presParOf" srcId="{FAFB9FCB-FC2F-42EC-BC3C-E7B7A577E5F0}" destId="{7973476C-67E2-4F61-87F1-760C6F33B54D}" srcOrd="4" destOrd="0" presId="urn:microsoft.com/office/officeart/2005/8/layout/hierarchy3"/>
    <dgm:cxn modelId="{D737BC7B-CC3A-43A0-B26E-0BE318849CFD}" type="presParOf" srcId="{FAFB9FCB-FC2F-42EC-BC3C-E7B7A577E5F0}" destId="{77D9C0DD-8035-42B1-91B2-102EADD2676A}" srcOrd="5" destOrd="0" presId="urn:microsoft.com/office/officeart/2005/8/layout/hierarchy3"/>
    <dgm:cxn modelId="{10752B0C-C0BC-4284-8B1D-2D11A67BDF6B}" type="presParOf" srcId="{CA638CDE-9F8D-4E6E-AFAB-25AF89218C08}" destId="{BAEA17EE-4455-43E1-86D7-13DD5DD1AA56}" srcOrd="6" destOrd="0" presId="urn:microsoft.com/office/officeart/2005/8/layout/hierarchy3"/>
    <dgm:cxn modelId="{A8A9C9A3-1BF6-4001-A1E8-996D0B6069EF}" type="presParOf" srcId="{BAEA17EE-4455-43E1-86D7-13DD5DD1AA56}" destId="{0F46C2D5-A363-4957-908D-F40930CE8822}" srcOrd="0" destOrd="0" presId="urn:microsoft.com/office/officeart/2005/8/layout/hierarchy3"/>
    <dgm:cxn modelId="{98B44438-FB6E-45A6-9FF3-1D1039A3422B}" type="presParOf" srcId="{0F46C2D5-A363-4957-908D-F40930CE8822}" destId="{EFE37A88-3F2C-4EF4-9D60-4E0BDAC5C6A3}" srcOrd="0" destOrd="0" presId="urn:microsoft.com/office/officeart/2005/8/layout/hierarchy3"/>
    <dgm:cxn modelId="{4F47DE39-60CF-4AE5-8D51-2E9921CCA2A9}" type="presParOf" srcId="{0F46C2D5-A363-4957-908D-F40930CE8822}" destId="{93C0E7CD-FAC5-4F46-9392-BF01DAFEC06D}" srcOrd="1" destOrd="0" presId="urn:microsoft.com/office/officeart/2005/8/layout/hierarchy3"/>
    <dgm:cxn modelId="{0B9E2E22-876D-43B2-BAD4-7B9EB78B5542}" type="presParOf" srcId="{BAEA17EE-4455-43E1-86D7-13DD5DD1AA56}" destId="{D9324836-DBC5-49C5-9D35-BD7E84493058}" srcOrd="1" destOrd="0" presId="urn:microsoft.com/office/officeart/2005/8/layout/hierarchy3"/>
    <dgm:cxn modelId="{5B9B2B81-D515-436C-9C77-AF8FE195B0F5}" type="presParOf" srcId="{D9324836-DBC5-49C5-9D35-BD7E84493058}" destId="{94AE62F6-BB81-4B8D-80EF-896B18EAD897}" srcOrd="0" destOrd="0" presId="urn:microsoft.com/office/officeart/2005/8/layout/hierarchy3"/>
    <dgm:cxn modelId="{84EF7AAE-2639-4F61-99F4-1B55A5343DDE}" type="presParOf" srcId="{D9324836-DBC5-49C5-9D35-BD7E84493058}" destId="{2EDCBD85-4246-4159-99C5-E4731D88A2DB}" srcOrd="1" destOrd="0" presId="urn:microsoft.com/office/officeart/2005/8/layout/hierarchy3"/>
    <dgm:cxn modelId="{B96EE53F-3465-40A3-A515-2BD7480F1785}" type="presParOf" srcId="{D9324836-DBC5-49C5-9D35-BD7E84493058}" destId="{65F63A20-A4BC-4C40-9D68-5DCC8ED5E903}" srcOrd="2" destOrd="0" presId="urn:microsoft.com/office/officeart/2005/8/layout/hierarchy3"/>
    <dgm:cxn modelId="{E62555B8-C829-4DEB-8618-6E0C4E65E8AD}" type="presParOf" srcId="{D9324836-DBC5-49C5-9D35-BD7E84493058}" destId="{D460B1DB-B126-4490-A671-B530345E4270}" srcOrd="3" destOrd="0" presId="urn:microsoft.com/office/officeart/2005/8/layout/hierarchy3"/>
    <dgm:cxn modelId="{8DC42F12-199A-4D0F-BBEA-B4B08E1004F2}" type="presParOf" srcId="{D9324836-DBC5-49C5-9D35-BD7E84493058}" destId="{FBC61A76-5B33-4EA7-B633-0F22D64F0230}" srcOrd="4" destOrd="0" presId="urn:microsoft.com/office/officeart/2005/8/layout/hierarchy3"/>
    <dgm:cxn modelId="{8F65110F-3702-4C38-BAA7-4E81ADFE5B59}" type="presParOf" srcId="{D9324836-DBC5-49C5-9D35-BD7E84493058}" destId="{AC09B3A9-EBB3-4097-93AA-CFF49A0F71FE}" srcOrd="5" destOrd="0" presId="urn:microsoft.com/office/officeart/2005/8/layout/hierarchy3"/>
    <dgm:cxn modelId="{69109DC7-3EEC-4321-9EF0-61FF9FDB6E54}" type="presParOf" srcId="{D9324836-DBC5-49C5-9D35-BD7E84493058}" destId="{A3F63159-5987-467C-B940-A83A4DCE289C}" srcOrd="6" destOrd="0" presId="urn:microsoft.com/office/officeart/2005/8/layout/hierarchy3"/>
    <dgm:cxn modelId="{5A6952A0-EA3B-438E-B9F7-ED391C3A53F7}" type="presParOf" srcId="{D9324836-DBC5-49C5-9D35-BD7E84493058}" destId="{A9ECC3FA-E748-4ACA-8DE2-2C2BA9CA7BBF}" srcOrd="7" destOrd="0" presId="urn:microsoft.com/office/officeart/2005/8/layout/hierarchy3"/>
    <dgm:cxn modelId="{4123FC5C-B2A1-4032-BFAB-89EBEAE16D2B}" type="presParOf" srcId="{D9324836-DBC5-49C5-9D35-BD7E84493058}" destId="{AB39A947-6F2E-466D-95BC-B9B1B533E845}" srcOrd="8" destOrd="0" presId="urn:microsoft.com/office/officeart/2005/8/layout/hierarchy3"/>
    <dgm:cxn modelId="{1188F4C8-8002-4C88-A70A-715F869DAFEC}" type="presParOf" srcId="{D9324836-DBC5-49C5-9D35-BD7E84493058}" destId="{964DE8E0-4101-4CBA-ACAF-297029390CC5}" srcOrd="9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4CF5447-8073-4FE3-BB31-CBAC6B8CF5FE}">
      <dsp:nvSpPr>
        <dsp:cNvPr id="0" name=""/>
        <dsp:cNvSpPr/>
      </dsp:nvSpPr>
      <dsp:spPr>
        <a:xfrm>
          <a:off x="-5614231" y="-863049"/>
          <a:ext cx="6712436" cy="6712436"/>
        </a:xfrm>
        <a:prstGeom prst="blockArc">
          <a:avLst>
            <a:gd name="adj1" fmla="val 18900000"/>
            <a:gd name="adj2" fmla="val 2700000"/>
            <a:gd name="adj3" fmla="val 322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0B12D6-BF5C-4DAC-9370-FF9D9736A141}">
      <dsp:nvSpPr>
        <dsp:cNvPr id="0" name=""/>
        <dsp:cNvSpPr/>
      </dsp:nvSpPr>
      <dsp:spPr>
        <a:xfrm>
          <a:off x="586133" y="383349"/>
          <a:ext cx="10481820" cy="767098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8884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400" b="0" kern="1200" cap="all" baseline="0" noProof="0" dirty="0">
              <a:solidFill>
                <a:srgbClr val="002855"/>
              </a:solidFill>
              <a:latin typeface="Arial"/>
              <a:ea typeface="+mj-ea"/>
              <a:cs typeface="Arial"/>
              <a:sym typeface="Verdana Bold" panose="020B0804030504040204" pitchFamily="34" charset="0"/>
            </a:rPr>
            <a:t>	     Il contesto delle Aziende casa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400" b="0" kern="1200" cap="all" baseline="0" noProof="0" dirty="0">
              <a:solidFill>
                <a:srgbClr val="002855"/>
              </a:solidFill>
              <a:latin typeface="Arial"/>
              <a:ea typeface="+mj-ea"/>
              <a:cs typeface="Arial"/>
              <a:sym typeface="Verdana Bold" panose="020B0804030504040204" pitchFamily="34" charset="0"/>
            </a:rPr>
            <a:t> lo spazio strategico per l’innovazione sociale</a:t>
          </a:r>
        </a:p>
      </dsp:txBody>
      <dsp:txXfrm>
        <a:off x="586133" y="383349"/>
        <a:ext cx="10481820" cy="767098"/>
      </dsp:txXfrm>
    </dsp:sp>
    <dsp:sp modelId="{4057D9B4-B9E7-4772-8F87-8945A388373A}">
      <dsp:nvSpPr>
        <dsp:cNvPr id="0" name=""/>
        <dsp:cNvSpPr/>
      </dsp:nvSpPr>
      <dsp:spPr>
        <a:xfrm>
          <a:off x="70820" y="246254"/>
          <a:ext cx="970427" cy="1018811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F7864C38-C65F-438A-9B50-57E67796C0FA}">
      <dsp:nvSpPr>
        <dsp:cNvPr id="0" name=""/>
        <dsp:cNvSpPr/>
      </dsp:nvSpPr>
      <dsp:spPr>
        <a:xfrm>
          <a:off x="1025928" y="1402404"/>
          <a:ext cx="10042025" cy="103068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66040" rIns="66040" bIns="6604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600" b="0" kern="1200" cap="all" baseline="0" dirty="0">
              <a:solidFill>
                <a:srgbClr val="002855"/>
              </a:solidFill>
              <a:latin typeface="Arial"/>
              <a:ea typeface="ヒラギノ角ゴ ProN W6"/>
              <a:cs typeface="Arial"/>
            </a:rPr>
            <a:t>IL CENTRO SERVIZI ALL’UTENZA </a:t>
          </a:r>
        </a:p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600" b="0" kern="1200" cap="all" baseline="0" dirty="0">
              <a:solidFill>
                <a:srgbClr val="002855"/>
              </a:solidFill>
              <a:latin typeface="Arial"/>
              <a:ea typeface="ヒラギノ角ゴ ProN W6"/>
              <a:cs typeface="Arial"/>
            </a:rPr>
            <a:t>   occasione di un cambiamento concreto</a:t>
          </a:r>
        </a:p>
      </dsp:txBody>
      <dsp:txXfrm>
        <a:off x="1025928" y="1402404"/>
        <a:ext cx="10042025" cy="1030680"/>
      </dsp:txXfrm>
    </dsp:sp>
    <dsp:sp modelId="{632F0216-C512-4F95-974E-8E75C2CB0683}">
      <dsp:nvSpPr>
        <dsp:cNvPr id="0" name=""/>
        <dsp:cNvSpPr/>
      </dsp:nvSpPr>
      <dsp:spPr>
        <a:xfrm>
          <a:off x="485334" y="1391544"/>
          <a:ext cx="1054759" cy="1054759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B92E440E-C1AB-4665-B0AC-C25BB14EF02C}">
      <dsp:nvSpPr>
        <dsp:cNvPr id="0" name=""/>
        <dsp:cNvSpPr/>
      </dsp:nvSpPr>
      <dsp:spPr>
        <a:xfrm>
          <a:off x="1072062" y="2566625"/>
          <a:ext cx="10042025" cy="817082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8884" tIns="66040" rIns="66040" bIns="6604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600" b="0" kern="1200" cap="all" baseline="0" dirty="0">
              <a:solidFill>
                <a:srgbClr val="002855"/>
              </a:solidFill>
              <a:latin typeface="Arial"/>
              <a:ea typeface="ヒラギノ角ゴ ProN W6"/>
              <a:cs typeface="Arial"/>
            </a:rPr>
            <a:t>          UN SISTEMA DI WELFARE AGGREGATO</a:t>
          </a:r>
        </a:p>
      </dsp:txBody>
      <dsp:txXfrm>
        <a:off x="1072062" y="2566625"/>
        <a:ext cx="10042025" cy="817082"/>
      </dsp:txXfrm>
    </dsp:sp>
    <dsp:sp modelId="{B9D5C7D6-AF73-46CB-B93D-5E1DB8121DAA}">
      <dsp:nvSpPr>
        <dsp:cNvPr id="0" name=""/>
        <dsp:cNvSpPr/>
      </dsp:nvSpPr>
      <dsp:spPr>
        <a:xfrm>
          <a:off x="422610" y="2452089"/>
          <a:ext cx="1135736" cy="1129369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FCDD08DB-F5AB-492D-AFAD-F8A4D7D2FBA1}">
      <dsp:nvSpPr>
        <dsp:cNvPr id="0" name=""/>
        <dsp:cNvSpPr/>
      </dsp:nvSpPr>
      <dsp:spPr>
        <a:xfrm>
          <a:off x="586133" y="3747719"/>
          <a:ext cx="10481820" cy="943438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8884" tIns="66040" rIns="66040" bIns="6604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600" b="0" kern="1200" cap="all" baseline="0" dirty="0">
              <a:solidFill>
                <a:srgbClr val="002855"/>
              </a:solidFill>
              <a:latin typeface="Arial"/>
              <a:ea typeface="ヒラギノ角ゴ ProN W6"/>
              <a:cs typeface="Arial"/>
            </a:rPr>
            <a:t>Creare valore pubblico</a:t>
          </a:r>
        </a:p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600" b="0" kern="1200" cap="all" baseline="0" dirty="0">
              <a:solidFill>
                <a:srgbClr val="002855"/>
              </a:solidFill>
              <a:latin typeface="Arial"/>
              <a:ea typeface="ヒラギノ角ゴ ProN W6"/>
              <a:cs typeface="Arial"/>
            </a:rPr>
            <a:t> una migliore </a:t>
          </a:r>
          <a:r>
            <a:rPr lang="it-IT" sz="2600" b="0" kern="1200" cap="all" baseline="0" dirty="0" err="1">
              <a:solidFill>
                <a:srgbClr val="002855"/>
              </a:solidFill>
              <a:latin typeface="Arial"/>
              <a:ea typeface="ヒラギノ角ゴ ProN W6"/>
              <a:cs typeface="Arial"/>
            </a:rPr>
            <a:t>QualitA’</a:t>
          </a:r>
          <a:r>
            <a:rPr lang="it-IT" sz="2600" b="0" kern="1200" cap="all" baseline="0" dirty="0">
              <a:solidFill>
                <a:srgbClr val="002855"/>
              </a:solidFill>
              <a:latin typeface="Arial"/>
              <a:ea typeface="ヒラギノ角ゴ ProN W6"/>
              <a:cs typeface="Arial"/>
            </a:rPr>
            <a:t> dell’abitare</a:t>
          </a:r>
        </a:p>
      </dsp:txBody>
      <dsp:txXfrm>
        <a:off x="586133" y="3747719"/>
        <a:ext cx="10481820" cy="943438"/>
      </dsp:txXfrm>
    </dsp:sp>
    <dsp:sp modelId="{FF4D36E9-2A76-4020-BB1F-7146AA799899}">
      <dsp:nvSpPr>
        <dsp:cNvPr id="0" name=""/>
        <dsp:cNvSpPr/>
      </dsp:nvSpPr>
      <dsp:spPr>
        <a:xfrm>
          <a:off x="46134" y="3679439"/>
          <a:ext cx="1079997" cy="1079997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49A508-FA73-4CD8-A2BA-F214D3B30F00}">
      <dsp:nvSpPr>
        <dsp:cNvPr id="0" name=""/>
        <dsp:cNvSpPr/>
      </dsp:nvSpPr>
      <dsp:spPr>
        <a:xfrm>
          <a:off x="609599" y="0"/>
          <a:ext cx="6908800" cy="5418667"/>
        </a:xfrm>
        <a:prstGeom prst="rightArrow">
          <a:avLst/>
        </a:prstGeom>
        <a:gradFill rotWithShape="0">
          <a:gsLst>
            <a:gs pos="0">
              <a:schemeClr val="accent1">
                <a:tint val="4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tint val="4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4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14445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EA069FA8-4C6E-4CBC-B7D4-76B53C294265}">
      <dsp:nvSpPr>
        <dsp:cNvPr id="0" name=""/>
        <dsp:cNvSpPr/>
      </dsp:nvSpPr>
      <dsp:spPr>
        <a:xfrm>
          <a:off x="8731" y="1625600"/>
          <a:ext cx="2616200" cy="2167466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500" kern="1200" dirty="0"/>
            <a:t>Ente costruttore</a:t>
          </a:r>
        </a:p>
      </dsp:txBody>
      <dsp:txXfrm>
        <a:off x="114538" y="1731407"/>
        <a:ext cx="2404586" cy="1955852"/>
      </dsp:txXfrm>
    </dsp:sp>
    <dsp:sp modelId="{80EAA840-1486-4DB5-BDEB-7E0EA11889FA}">
      <dsp:nvSpPr>
        <dsp:cNvPr id="0" name=""/>
        <dsp:cNvSpPr/>
      </dsp:nvSpPr>
      <dsp:spPr>
        <a:xfrm>
          <a:off x="2755899" y="1625600"/>
          <a:ext cx="2616200" cy="2167466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500" kern="1200" dirty="0"/>
            <a:t>Ente gestore</a:t>
          </a:r>
        </a:p>
      </dsp:txBody>
      <dsp:txXfrm>
        <a:off x="2861706" y="1731407"/>
        <a:ext cx="2404586" cy="1955852"/>
      </dsp:txXfrm>
    </dsp:sp>
    <dsp:sp modelId="{8CA51D69-4C23-4A6C-AA8B-E3C92309BA98}">
      <dsp:nvSpPr>
        <dsp:cNvPr id="0" name=""/>
        <dsp:cNvSpPr/>
      </dsp:nvSpPr>
      <dsp:spPr>
        <a:xfrm>
          <a:off x="5503068" y="1625600"/>
          <a:ext cx="2616200" cy="2167466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500" kern="1200" dirty="0"/>
            <a:t>Ente erogatore di servizi</a:t>
          </a:r>
        </a:p>
      </dsp:txBody>
      <dsp:txXfrm>
        <a:off x="5608875" y="1731407"/>
        <a:ext cx="2404586" cy="195585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62FEE0-5D38-41BA-91F4-C685EFB92C04}">
      <dsp:nvSpPr>
        <dsp:cNvPr id="0" name=""/>
        <dsp:cNvSpPr/>
      </dsp:nvSpPr>
      <dsp:spPr>
        <a:xfrm>
          <a:off x="1027840" y="0"/>
          <a:ext cx="1647000" cy="1647000"/>
        </a:xfrm>
        <a:prstGeom prst="ellipse">
          <a:avLst/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47F9BA-7C22-4CAB-8F98-954D0477F8C4}">
      <dsp:nvSpPr>
        <dsp:cNvPr id="0" name=""/>
        <dsp:cNvSpPr/>
      </dsp:nvSpPr>
      <dsp:spPr>
        <a:xfrm>
          <a:off x="1295022" y="360042"/>
          <a:ext cx="1141134" cy="978112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2000" r="-32000"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AA7F644-CA99-4D1C-AC22-9A40CAD36E45}">
      <dsp:nvSpPr>
        <dsp:cNvPr id="0" name=""/>
        <dsp:cNvSpPr/>
      </dsp:nvSpPr>
      <dsp:spPr>
        <a:xfrm>
          <a:off x="526902" y="2161709"/>
          <a:ext cx="2700000" cy="12698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400" b="0" kern="1200" cap="none" baseline="0" noProof="0" dirty="0">
              <a:solidFill>
                <a:srgbClr val="002855"/>
              </a:solidFill>
              <a:latin typeface="Arial"/>
              <a:ea typeface="ヒラギノ角ゴ ProN W6"/>
              <a:cs typeface="Arial"/>
            </a:rPr>
            <a:t>Ricerca di partnership di Rete</a:t>
          </a:r>
          <a:endParaRPr lang="it-IT" sz="2400" kern="1200" noProof="0" dirty="0"/>
        </a:p>
      </dsp:txBody>
      <dsp:txXfrm>
        <a:off x="526902" y="2161709"/>
        <a:ext cx="2700000" cy="1269843"/>
      </dsp:txXfrm>
    </dsp:sp>
    <dsp:sp modelId="{395704C5-F946-462D-A69C-EF9F9736D2B0}">
      <dsp:nvSpPr>
        <dsp:cNvPr id="0" name=""/>
        <dsp:cNvSpPr/>
      </dsp:nvSpPr>
      <dsp:spPr>
        <a:xfrm>
          <a:off x="4225902" y="1709"/>
          <a:ext cx="1647000" cy="1647000"/>
        </a:xfrm>
        <a:prstGeom prst="ellipse">
          <a:avLst/>
        </a:prstGeom>
        <a:solidFill>
          <a:srgbClr val="00FF9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65E6294-B2C0-4C55-828B-784B823F312F}">
      <dsp:nvSpPr>
        <dsp:cNvPr id="0" name=""/>
        <dsp:cNvSpPr/>
      </dsp:nvSpPr>
      <dsp:spPr>
        <a:xfrm>
          <a:off x="4462977" y="347677"/>
          <a:ext cx="1141134" cy="978424"/>
        </a:xfrm>
        <a:prstGeom prst="rect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3F658D-38C7-4601-A0BE-1335EF200B1E}">
      <dsp:nvSpPr>
        <dsp:cNvPr id="0" name=""/>
        <dsp:cNvSpPr/>
      </dsp:nvSpPr>
      <dsp:spPr>
        <a:xfrm>
          <a:off x="3699402" y="2161709"/>
          <a:ext cx="2700000" cy="12698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400" b="0" kern="1200" cap="none" baseline="0" noProof="0" dirty="0">
              <a:solidFill>
                <a:srgbClr val="002855"/>
              </a:solidFill>
              <a:latin typeface="Arial"/>
              <a:ea typeface="+mj-ea"/>
              <a:cs typeface="Arial"/>
              <a:sym typeface="Verdana Bold" panose="020B0804030504040204" pitchFamily="34" charset="0"/>
            </a:rPr>
            <a:t>Coerenza delle caratteristiche dei servizi rispetto ai bisogni</a:t>
          </a:r>
          <a:endParaRPr lang="it-IT" sz="2400" kern="1200" noProof="0" dirty="0"/>
        </a:p>
      </dsp:txBody>
      <dsp:txXfrm>
        <a:off x="3699402" y="2161709"/>
        <a:ext cx="2700000" cy="1269843"/>
      </dsp:txXfrm>
    </dsp:sp>
    <dsp:sp modelId="{E11D9D2D-E1EF-4F8B-B956-5276604AD9D9}">
      <dsp:nvSpPr>
        <dsp:cNvPr id="0" name=""/>
        <dsp:cNvSpPr/>
      </dsp:nvSpPr>
      <dsp:spPr>
        <a:xfrm>
          <a:off x="7443134" y="0"/>
          <a:ext cx="1647000" cy="1647000"/>
        </a:xfrm>
        <a:prstGeom prst="ellipse">
          <a:avLst/>
        </a:prstGeom>
        <a:solidFill>
          <a:schemeClr val="tx2">
            <a:lumMod val="25000"/>
            <a:lumOff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FA072A-DFB4-4C7E-8DD2-3ED530ACB350}">
      <dsp:nvSpPr>
        <dsp:cNvPr id="0" name=""/>
        <dsp:cNvSpPr/>
      </dsp:nvSpPr>
      <dsp:spPr>
        <a:xfrm>
          <a:off x="7703734" y="288033"/>
          <a:ext cx="1141134" cy="978112"/>
        </a:xfrm>
        <a:prstGeom prst="rect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6000" r="-26000"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E92316D-3FE7-4566-B3F0-19B75154652B}">
      <dsp:nvSpPr>
        <dsp:cNvPr id="0" name=""/>
        <dsp:cNvSpPr/>
      </dsp:nvSpPr>
      <dsp:spPr>
        <a:xfrm>
          <a:off x="6871902" y="2161709"/>
          <a:ext cx="2700000" cy="12698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400" b="0" kern="1200" cap="none" baseline="0" noProof="0" dirty="0">
              <a:solidFill>
                <a:srgbClr val="002855"/>
              </a:solidFill>
              <a:latin typeface="Arial"/>
              <a:ea typeface="+mj-ea"/>
              <a:cs typeface="Arial"/>
              <a:sym typeface="Verdana Bold" panose="020B0804030504040204" pitchFamily="34" charset="0"/>
            </a:rPr>
            <a:t>Ricerca della  sostenibilità di medio periodo</a:t>
          </a:r>
          <a:endParaRPr lang="it-IT" sz="2400" b="0" kern="1200" cap="none" baseline="0" noProof="0" dirty="0">
            <a:solidFill>
              <a:srgbClr val="002855"/>
            </a:solidFill>
            <a:latin typeface="Arial"/>
            <a:ea typeface="ヒラギノ角ゴ ProN W6"/>
            <a:cs typeface="Arial"/>
          </a:endParaRPr>
        </a:p>
      </dsp:txBody>
      <dsp:txXfrm>
        <a:off x="6871902" y="2161709"/>
        <a:ext cx="2700000" cy="126984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D46F04-029B-467E-B16D-D91612C33A7E}">
      <dsp:nvSpPr>
        <dsp:cNvPr id="0" name=""/>
        <dsp:cNvSpPr/>
      </dsp:nvSpPr>
      <dsp:spPr>
        <a:xfrm>
          <a:off x="77915" y="0"/>
          <a:ext cx="2902455" cy="5229613"/>
        </a:xfrm>
        <a:prstGeom prst="roundRect">
          <a:avLst>
            <a:gd name="adj" fmla="val 10000"/>
          </a:avLst>
        </a:prstGeom>
        <a:solidFill>
          <a:srgbClr val="00CC9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900" kern="1200" dirty="0"/>
            <a:t>Pubblica amministrazione</a:t>
          </a:r>
        </a:p>
      </dsp:txBody>
      <dsp:txXfrm>
        <a:off x="77915" y="0"/>
        <a:ext cx="2902455" cy="1568883"/>
      </dsp:txXfrm>
    </dsp:sp>
    <dsp:sp modelId="{4E4CF435-0E53-45F3-8494-53293F2678A2}">
      <dsp:nvSpPr>
        <dsp:cNvPr id="0" name=""/>
        <dsp:cNvSpPr/>
      </dsp:nvSpPr>
      <dsp:spPr>
        <a:xfrm>
          <a:off x="291361" y="1569873"/>
          <a:ext cx="2321964" cy="60499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800" kern="1200" dirty="0"/>
            <a:t>Regione Liguria</a:t>
          </a:r>
        </a:p>
      </dsp:txBody>
      <dsp:txXfrm>
        <a:off x="309081" y="1587593"/>
        <a:ext cx="2286524" cy="569553"/>
      </dsp:txXfrm>
    </dsp:sp>
    <dsp:sp modelId="{E89D94B4-4106-4A12-AF86-5D6CE7DF9B58}">
      <dsp:nvSpPr>
        <dsp:cNvPr id="0" name=""/>
        <dsp:cNvSpPr/>
      </dsp:nvSpPr>
      <dsp:spPr>
        <a:xfrm>
          <a:off x="291361" y="2267942"/>
          <a:ext cx="2321964" cy="60499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800" kern="1200" dirty="0"/>
            <a:t>Comuni della provincia di Imperia </a:t>
          </a:r>
        </a:p>
      </dsp:txBody>
      <dsp:txXfrm>
        <a:off x="309081" y="2285662"/>
        <a:ext cx="2286524" cy="569553"/>
      </dsp:txXfrm>
    </dsp:sp>
    <dsp:sp modelId="{C7538EFD-EA6D-432A-A526-426F954E4C82}">
      <dsp:nvSpPr>
        <dsp:cNvPr id="0" name=""/>
        <dsp:cNvSpPr/>
      </dsp:nvSpPr>
      <dsp:spPr>
        <a:xfrm>
          <a:off x="291361" y="2966011"/>
          <a:ext cx="2321964" cy="60499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800" kern="1200" dirty="0"/>
            <a:t>Azienda Sanitaria Locale</a:t>
          </a:r>
        </a:p>
      </dsp:txBody>
      <dsp:txXfrm>
        <a:off x="309081" y="2983731"/>
        <a:ext cx="2286524" cy="569553"/>
      </dsp:txXfrm>
    </dsp:sp>
    <dsp:sp modelId="{A63A68C9-EF49-4FDE-BAED-65E6248957AC}">
      <dsp:nvSpPr>
        <dsp:cNvPr id="0" name=""/>
        <dsp:cNvSpPr/>
      </dsp:nvSpPr>
      <dsp:spPr>
        <a:xfrm>
          <a:off x="291361" y="3664080"/>
          <a:ext cx="2321964" cy="60499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800" kern="1200" dirty="0"/>
            <a:t>Alfa Liguria</a:t>
          </a:r>
        </a:p>
      </dsp:txBody>
      <dsp:txXfrm>
        <a:off x="309081" y="3681800"/>
        <a:ext cx="2286524" cy="569553"/>
      </dsp:txXfrm>
    </dsp:sp>
    <dsp:sp modelId="{927940F8-B529-4821-BCB0-3415A2B6B442}">
      <dsp:nvSpPr>
        <dsp:cNvPr id="0" name=""/>
        <dsp:cNvSpPr/>
      </dsp:nvSpPr>
      <dsp:spPr>
        <a:xfrm>
          <a:off x="291361" y="4362149"/>
          <a:ext cx="2321964" cy="60499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800" kern="1200" dirty="0"/>
            <a:t>Forze dell’Ordine</a:t>
          </a:r>
        </a:p>
      </dsp:txBody>
      <dsp:txXfrm>
        <a:off x="309081" y="4379869"/>
        <a:ext cx="2286524" cy="569553"/>
      </dsp:txXfrm>
    </dsp:sp>
    <dsp:sp modelId="{FC945322-8DD6-4312-9F55-63FAACBC1C6E}">
      <dsp:nvSpPr>
        <dsp:cNvPr id="0" name=""/>
        <dsp:cNvSpPr/>
      </dsp:nvSpPr>
      <dsp:spPr>
        <a:xfrm>
          <a:off x="3126015" y="0"/>
          <a:ext cx="2902455" cy="5229613"/>
        </a:xfrm>
        <a:prstGeom prst="roundRect">
          <a:avLst>
            <a:gd name="adj" fmla="val 10000"/>
          </a:avLst>
        </a:prstGeom>
        <a:solidFill>
          <a:srgbClr val="F0B2C4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900" kern="1200" dirty="0"/>
            <a:t>Terzo Settore</a:t>
          </a:r>
        </a:p>
      </dsp:txBody>
      <dsp:txXfrm>
        <a:off x="3126015" y="0"/>
        <a:ext cx="2902455" cy="1568883"/>
      </dsp:txXfrm>
    </dsp:sp>
    <dsp:sp modelId="{D6FC9463-DFE8-402D-B310-CC97F71DEFEB}">
      <dsp:nvSpPr>
        <dsp:cNvPr id="0" name=""/>
        <dsp:cNvSpPr/>
      </dsp:nvSpPr>
      <dsp:spPr>
        <a:xfrm>
          <a:off x="3411501" y="1569873"/>
          <a:ext cx="2321964" cy="60499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800" kern="1200" dirty="0"/>
            <a:t>Cooperative</a:t>
          </a:r>
        </a:p>
      </dsp:txBody>
      <dsp:txXfrm>
        <a:off x="3429221" y="1587593"/>
        <a:ext cx="2286524" cy="569553"/>
      </dsp:txXfrm>
    </dsp:sp>
    <dsp:sp modelId="{238DAFA1-3C24-4CD1-AEFC-1AC423B149CE}">
      <dsp:nvSpPr>
        <dsp:cNvPr id="0" name=""/>
        <dsp:cNvSpPr/>
      </dsp:nvSpPr>
      <dsp:spPr>
        <a:xfrm>
          <a:off x="3411501" y="2267942"/>
          <a:ext cx="2321964" cy="60499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800" kern="1200" dirty="0"/>
            <a:t>Fondazioni</a:t>
          </a:r>
        </a:p>
      </dsp:txBody>
      <dsp:txXfrm>
        <a:off x="3429221" y="2285662"/>
        <a:ext cx="2286524" cy="569553"/>
      </dsp:txXfrm>
    </dsp:sp>
    <dsp:sp modelId="{02F99FC4-C0BE-4224-9639-FA7AB68B493E}">
      <dsp:nvSpPr>
        <dsp:cNvPr id="0" name=""/>
        <dsp:cNvSpPr/>
      </dsp:nvSpPr>
      <dsp:spPr>
        <a:xfrm>
          <a:off x="3411501" y="2966011"/>
          <a:ext cx="2321964" cy="60499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800" kern="1200" dirty="0"/>
            <a:t>Associazioni</a:t>
          </a:r>
        </a:p>
      </dsp:txBody>
      <dsp:txXfrm>
        <a:off x="3429221" y="2983731"/>
        <a:ext cx="2286524" cy="569553"/>
      </dsp:txXfrm>
    </dsp:sp>
    <dsp:sp modelId="{4BC09E93-E0DA-4C91-9686-38CE0983B474}">
      <dsp:nvSpPr>
        <dsp:cNvPr id="0" name=""/>
        <dsp:cNvSpPr/>
      </dsp:nvSpPr>
      <dsp:spPr>
        <a:xfrm>
          <a:off x="3411501" y="3664080"/>
          <a:ext cx="2321964" cy="60499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800" kern="1200" dirty="0"/>
            <a:t>Imprese Sociali</a:t>
          </a:r>
        </a:p>
      </dsp:txBody>
      <dsp:txXfrm>
        <a:off x="3429221" y="3681800"/>
        <a:ext cx="2286524" cy="569553"/>
      </dsp:txXfrm>
    </dsp:sp>
    <dsp:sp modelId="{32A21B5A-04DC-4099-9857-5E706F734660}">
      <dsp:nvSpPr>
        <dsp:cNvPr id="0" name=""/>
        <dsp:cNvSpPr/>
      </dsp:nvSpPr>
      <dsp:spPr>
        <a:xfrm>
          <a:off x="3411501" y="4362149"/>
          <a:ext cx="2321964" cy="60499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800" kern="1200" dirty="0"/>
            <a:t>Onlus</a:t>
          </a:r>
        </a:p>
      </dsp:txBody>
      <dsp:txXfrm>
        <a:off x="3429221" y="4379869"/>
        <a:ext cx="2286524" cy="569553"/>
      </dsp:txXfrm>
    </dsp:sp>
    <dsp:sp modelId="{4C84AA7C-5C2B-4668-A5D3-B1BC600FDDA2}">
      <dsp:nvSpPr>
        <dsp:cNvPr id="0" name=""/>
        <dsp:cNvSpPr/>
      </dsp:nvSpPr>
      <dsp:spPr>
        <a:xfrm>
          <a:off x="6173477" y="0"/>
          <a:ext cx="2902455" cy="5229613"/>
        </a:xfrm>
        <a:prstGeom prst="roundRect">
          <a:avLst>
            <a:gd name="adj" fmla="val 10000"/>
          </a:avLst>
        </a:prstGeom>
        <a:solidFill>
          <a:schemeClr val="accent4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900" kern="1200" dirty="0"/>
            <a:t>Privati</a:t>
          </a:r>
        </a:p>
      </dsp:txBody>
      <dsp:txXfrm>
        <a:off x="6173477" y="0"/>
        <a:ext cx="2902455" cy="1568883"/>
      </dsp:txXfrm>
    </dsp:sp>
    <dsp:sp modelId="{1C59C009-CFC4-49DB-9A19-3B1277AA31F6}">
      <dsp:nvSpPr>
        <dsp:cNvPr id="0" name=""/>
        <dsp:cNvSpPr/>
      </dsp:nvSpPr>
      <dsp:spPr>
        <a:xfrm>
          <a:off x="6531640" y="1569011"/>
          <a:ext cx="2321964" cy="76184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800" kern="1200" dirty="0"/>
            <a:t>Imprese profit</a:t>
          </a:r>
        </a:p>
      </dsp:txBody>
      <dsp:txXfrm>
        <a:off x="6553954" y="1591325"/>
        <a:ext cx="2277336" cy="717215"/>
      </dsp:txXfrm>
    </dsp:sp>
    <dsp:sp modelId="{F62E2CF3-F349-4A87-8B0E-2FF1FB3385CB}">
      <dsp:nvSpPr>
        <dsp:cNvPr id="0" name=""/>
        <dsp:cNvSpPr/>
      </dsp:nvSpPr>
      <dsp:spPr>
        <a:xfrm>
          <a:off x="6531640" y="2448061"/>
          <a:ext cx="2321964" cy="76184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800" kern="1200" dirty="0"/>
            <a:t>Cittadini</a:t>
          </a:r>
        </a:p>
      </dsp:txBody>
      <dsp:txXfrm>
        <a:off x="6553954" y="2470375"/>
        <a:ext cx="2277336" cy="717215"/>
      </dsp:txXfrm>
    </dsp:sp>
    <dsp:sp modelId="{CF722D87-B79E-4D2E-B5D9-6420C1F9B049}">
      <dsp:nvSpPr>
        <dsp:cNvPr id="0" name=""/>
        <dsp:cNvSpPr/>
      </dsp:nvSpPr>
      <dsp:spPr>
        <a:xfrm>
          <a:off x="6531640" y="3327111"/>
          <a:ext cx="2321964" cy="76184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800" kern="1200" dirty="0"/>
            <a:t>Consigli dell’Ordine</a:t>
          </a:r>
        </a:p>
      </dsp:txBody>
      <dsp:txXfrm>
        <a:off x="6553954" y="3349425"/>
        <a:ext cx="2277336" cy="717215"/>
      </dsp:txXfrm>
    </dsp:sp>
    <dsp:sp modelId="{3368963A-1853-49CE-8716-C2D39C069DCC}">
      <dsp:nvSpPr>
        <dsp:cNvPr id="0" name=""/>
        <dsp:cNvSpPr/>
      </dsp:nvSpPr>
      <dsp:spPr>
        <a:xfrm>
          <a:off x="6531640" y="4206161"/>
          <a:ext cx="2321964" cy="76184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800" kern="1200" dirty="0"/>
            <a:t>Startup</a:t>
          </a:r>
        </a:p>
      </dsp:txBody>
      <dsp:txXfrm>
        <a:off x="6553954" y="4228475"/>
        <a:ext cx="2277336" cy="71721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65DCD1-8E3F-44C8-9950-9867817052D6}">
      <dsp:nvSpPr>
        <dsp:cNvPr id="0" name=""/>
        <dsp:cNvSpPr/>
      </dsp:nvSpPr>
      <dsp:spPr>
        <a:xfrm>
          <a:off x="3646996" y="1910"/>
          <a:ext cx="1802957" cy="1065383"/>
        </a:xfrm>
        <a:prstGeom prst="roundRect">
          <a:avLst/>
        </a:prstGeom>
        <a:gradFill flip="none" rotWithShape="0">
          <a:gsLst>
            <a:gs pos="0">
              <a:schemeClr val="accent1"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1"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1"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27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63500" dist="50800" dir="135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800" kern="1200" dirty="0"/>
            <a:t>PORTALE WEB E ART’APP</a:t>
          </a:r>
        </a:p>
      </dsp:txBody>
      <dsp:txXfrm>
        <a:off x="3699004" y="53918"/>
        <a:ext cx="1698941" cy="961367"/>
      </dsp:txXfrm>
    </dsp:sp>
    <dsp:sp modelId="{7D59FE9B-3D95-4F33-A068-6B7FC8F83F9D}">
      <dsp:nvSpPr>
        <dsp:cNvPr id="0" name=""/>
        <dsp:cNvSpPr/>
      </dsp:nvSpPr>
      <dsp:spPr>
        <a:xfrm>
          <a:off x="2036429" y="534601"/>
          <a:ext cx="5024091" cy="5024091"/>
        </a:xfrm>
        <a:custGeom>
          <a:avLst/>
          <a:gdLst/>
          <a:ahLst/>
          <a:cxnLst/>
          <a:rect l="0" t="0" r="0" b="0"/>
          <a:pathLst>
            <a:path>
              <a:moveTo>
                <a:pt x="3423093" y="171027"/>
              </a:moveTo>
              <a:arcTo wR="2512045" hR="2512045" stAng="17475862" swAng="1385956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50086B-4583-4ECB-95AD-B3311ED28E0E}">
      <dsp:nvSpPr>
        <dsp:cNvPr id="0" name=""/>
        <dsp:cNvSpPr/>
      </dsp:nvSpPr>
      <dsp:spPr>
        <a:xfrm>
          <a:off x="5485346" y="1257932"/>
          <a:ext cx="2477246" cy="1065383"/>
        </a:xfrm>
        <a:prstGeom prst="roundRect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63500" dist="50800" dir="135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600" kern="1200" dirty="0"/>
            <a:t>ACCOMPAGNAMENTO ALL’ABITARE</a:t>
          </a:r>
        </a:p>
      </dsp:txBody>
      <dsp:txXfrm>
        <a:off x="5537354" y="1309940"/>
        <a:ext cx="2373230" cy="961367"/>
      </dsp:txXfrm>
    </dsp:sp>
    <dsp:sp modelId="{D2C56F8E-0CD4-4902-B30E-4D2CC982C4FB}">
      <dsp:nvSpPr>
        <dsp:cNvPr id="0" name=""/>
        <dsp:cNvSpPr/>
      </dsp:nvSpPr>
      <dsp:spPr>
        <a:xfrm>
          <a:off x="2036429" y="534601"/>
          <a:ext cx="5024091" cy="5024091"/>
        </a:xfrm>
        <a:custGeom>
          <a:avLst/>
          <a:gdLst/>
          <a:ahLst/>
          <a:cxnLst/>
          <a:rect l="0" t="0" r="0" b="0"/>
          <a:pathLst>
            <a:path>
              <a:moveTo>
                <a:pt x="4921824" y="1802580"/>
              </a:moveTo>
              <a:arcTo wR="2512045" hR="2512045" stAng="20615700" swAng="196860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2B1DBF-9C20-4181-B27C-D93A62708AA0}">
      <dsp:nvSpPr>
        <dsp:cNvPr id="0" name=""/>
        <dsp:cNvSpPr/>
      </dsp:nvSpPr>
      <dsp:spPr>
        <a:xfrm>
          <a:off x="5904444" y="3769978"/>
          <a:ext cx="1639051" cy="1065383"/>
        </a:xfrm>
        <a:prstGeom prst="roundRect">
          <a:avLst/>
        </a:prstGeom>
        <a:solidFill>
          <a:srgbClr val="FF66F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63500" dist="50800" dir="135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600" kern="1200" dirty="0"/>
            <a:t>QUALITA’ DELL’ABITARE</a:t>
          </a:r>
        </a:p>
      </dsp:txBody>
      <dsp:txXfrm>
        <a:off x="5956452" y="3821986"/>
        <a:ext cx="1535035" cy="961367"/>
      </dsp:txXfrm>
    </dsp:sp>
    <dsp:sp modelId="{5E7A8D81-D73E-43D0-991E-D33DE8575219}">
      <dsp:nvSpPr>
        <dsp:cNvPr id="0" name=""/>
        <dsp:cNvSpPr/>
      </dsp:nvSpPr>
      <dsp:spPr>
        <a:xfrm>
          <a:off x="2333169" y="284148"/>
          <a:ext cx="5024091" cy="5024091"/>
        </a:xfrm>
        <a:custGeom>
          <a:avLst/>
          <a:gdLst/>
          <a:ahLst/>
          <a:cxnLst/>
          <a:rect l="0" t="0" r="0" b="0"/>
          <a:pathLst>
            <a:path>
              <a:moveTo>
                <a:pt x="3971134" y="4556901"/>
              </a:moveTo>
              <a:arcTo wR="2512045" hR="2512045" stAng="3269435" swAng="1318125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93176C4-8414-48B2-A1B9-F40183E4BEB8}">
      <dsp:nvSpPr>
        <dsp:cNvPr id="0" name=""/>
        <dsp:cNvSpPr/>
      </dsp:nvSpPr>
      <dsp:spPr>
        <a:xfrm>
          <a:off x="3784824" y="4875521"/>
          <a:ext cx="1639051" cy="1065383"/>
        </a:xfrm>
        <a:prstGeom prst="roundRect">
          <a:avLst/>
        </a:prstGeom>
        <a:solidFill>
          <a:schemeClr val="accent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63500" dist="50800" dir="135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kern="1200" dirty="0"/>
            <a:t>COABITAZIONE SOCIALE</a:t>
          </a:r>
        </a:p>
      </dsp:txBody>
      <dsp:txXfrm>
        <a:off x="3836832" y="4927529"/>
        <a:ext cx="1535035" cy="961367"/>
      </dsp:txXfrm>
    </dsp:sp>
    <dsp:sp modelId="{2912583A-EEE2-464E-A037-30DB0EC83DE3}">
      <dsp:nvSpPr>
        <dsp:cNvPr id="0" name=""/>
        <dsp:cNvSpPr/>
      </dsp:nvSpPr>
      <dsp:spPr>
        <a:xfrm>
          <a:off x="1772483" y="308146"/>
          <a:ext cx="5024091" cy="5024091"/>
        </a:xfrm>
        <a:custGeom>
          <a:avLst/>
          <a:gdLst/>
          <a:ahLst/>
          <a:cxnLst/>
          <a:rect l="0" t="0" r="0" b="0"/>
          <a:pathLst>
            <a:path>
              <a:moveTo>
                <a:pt x="2001611" y="4971685"/>
              </a:moveTo>
              <a:arcTo wR="2512045" hR="2512045" stAng="6103430" swAng="1481122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AC108C-5A3B-4418-8C04-0D3C7DAAD491}">
      <dsp:nvSpPr>
        <dsp:cNvPr id="0" name=""/>
        <dsp:cNvSpPr/>
      </dsp:nvSpPr>
      <dsp:spPr>
        <a:xfrm>
          <a:off x="1553453" y="3769978"/>
          <a:ext cx="1639051" cy="1065383"/>
        </a:xfrm>
        <a:prstGeom prst="roundRect">
          <a:avLst/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63500" dist="50800" dir="135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600" kern="1200" dirty="0"/>
            <a:t>NUOVA AGENZIA SOCIALE PER LA CASA</a:t>
          </a:r>
        </a:p>
      </dsp:txBody>
      <dsp:txXfrm>
        <a:off x="1605461" y="3821986"/>
        <a:ext cx="1535035" cy="961367"/>
      </dsp:txXfrm>
    </dsp:sp>
    <dsp:sp modelId="{A9610407-76AA-4D2D-9A3A-9E412D28D54A}">
      <dsp:nvSpPr>
        <dsp:cNvPr id="0" name=""/>
        <dsp:cNvSpPr/>
      </dsp:nvSpPr>
      <dsp:spPr>
        <a:xfrm>
          <a:off x="2036429" y="534601"/>
          <a:ext cx="5024091" cy="5024091"/>
        </a:xfrm>
        <a:custGeom>
          <a:avLst/>
          <a:gdLst/>
          <a:ahLst/>
          <a:cxnLst/>
          <a:rect l="0" t="0" r="0" b="0"/>
          <a:pathLst>
            <a:path>
              <a:moveTo>
                <a:pt x="102267" y="3221510"/>
              </a:moveTo>
              <a:arcTo wR="2512045" hR="2512045" stAng="9815700" swAng="196860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A9A8515-1AAF-4D78-9B1D-07168D49F591}">
      <dsp:nvSpPr>
        <dsp:cNvPr id="0" name=""/>
        <dsp:cNvSpPr/>
      </dsp:nvSpPr>
      <dsp:spPr>
        <a:xfrm>
          <a:off x="894341" y="1257932"/>
          <a:ext cx="2957275" cy="1065383"/>
        </a:xfrm>
        <a:prstGeom prst="roundRect">
          <a:avLst/>
        </a:prstGeom>
        <a:solidFill>
          <a:srgbClr val="FAB0CA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63500" dist="50800" dir="135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kern="1200" dirty="0"/>
            <a:t>SPORTELLI: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kern="1200" dirty="0"/>
            <a:t> DISABILITA’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kern="1200" dirty="0"/>
            <a:t>ANTIVIOLENZA 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kern="1200" dirty="0"/>
            <a:t>LAVORO - FORMAZIONE             LIBERI PROFESSIONISTI</a:t>
          </a:r>
        </a:p>
      </dsp:txBody>
      <dsp:txXfrm>
        <a:off x="946349" y="1309940"/>
        <a:ext cx="2853259" cy="961367"/>
      </dsp:txXfrm>
    </dsp:sp>
    <dsp:sp modelId="{C4C31832-C5F7-4BFA-BC4F-68563EC88B4B}">
      <dsp:nvSpPr>
        <dsp:cNvPr id="0" name=""/>
        <dsp:cNvSpPr/>
      </dsp:nvSpPr>
      <dsp:spPr>
        <a:xfrm>
          <a:off x="2036429" y="534601"/>
          <a:ext cx="5024091" cy="5024091"/>
        </a:xfrm>
        <a:custGeom>
          <a:avLst/>
          <a:gdLst/>
          <a:ahLst/>
          <a:cxnLst/>
          <a:rect l="0" t="0" r="0" b="0"/>
          <a:pathLst>
            <a:path>
              <a:moveTo>
                <a:pt x="755599" y="716142"/>
              </a:moveTo>
              <a:arcTo wR="2512045" hR="2512045" stAng="13538183" swAng="1385956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080C169-28B6-4830-8D18-03F89AE0C976}">
      <dsp:nvSpPr>
        <dsp:cNvPr id="0" name=""/>
        <dsp:cNvSpPr/>
      </dsp:nvSpPr>
      <dsp:spPr>
        <a:xfrm rot="5400000">
          <a:off x="5044373" y="120542"/>
          <a:ext cx="1848127" cy="1607870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kern="1200" dirty="0"/>
            <a:t>INTERREG EUROPE</a:t>
          </a:r>
        </a:p>
      </dsp:txBody>
      <dsp:txXfrm rot="-5400000">
        <a:off x="5415061" y="288414"/>
        <a:ext cx="1106750" cy="1272127"/>
      </dsp:txXfrm>
    </dsp:sp>
    <dsp:sp modelId="{FF13E2EC-99C2-4DF0-9A80-BF3D3CBD6BF0}">
      <dsp:nvSpPr>
        <dsp:cNvPr id="0" name=""/>
        <dsp:cNvSpPr/>
      </dsp:nvSpPr>
      <dsp:spPr>
        <a:xfrm>
          <a:off x="6821162" y="215351"/>
          <a:ext cx="2062509" cy="14182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i="0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Presentazione idea progettuale</a:t>
          </a:r>
          <a:r>
            <a:rPr lang="it-IT" sz="1200" b="1" i="1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 Programmazione 2021-2027</a:t>
          </a:r>
          <a:r>
            <a:rPr lang="it-IT" sz="1200" b="0" i="1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” all’interno </a:t>
          </a:r>
          <a:r>
            <a:rPr lang="it-IT" sz="1200" b="1" i="1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del FEEL “</a:t>
          </a:r>
          <a:r>
            <a:rPr lang="it-IT" sz="1200" b="1" i="1" kern="1200" dirty="0" err="1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Frugal</a:t>
          </a:r>
          <a:r>
            <a:rPr lang="it-IT" sz="1200" b="1" i="1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 cities </a:t>
          </a:r>
          <a:r>
            <a:rPr lang="it-IT" sz="1200" b="1" i="1" kern="1200" dirty="0" err="1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through</a:t>
          </a:r>
          <a:r>
            <a:rPr lang="it-IT" sz="1200" b="1" i="1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 Energy </a:t>
          </a:r>
          <a:r>
            <a:rPr lang="it-IT" sz="1200" b="1" i="1" kern="1200" dirty="0" err="1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Efficiency</a:t>
          </a:r>
          <a:r>
            <a:rPr lang="it-IT" sz="1200" b="1" i="1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 and Low-tech communities Interreg Europe”</a:t>
          </a: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1100" kern="1200" dirty="0"/>
        </a:p>
      </dsp:txBody>
      <dsp:txXfrm>
        <a:off x="6821162" y="215351"/>
        <a:ext cx="2062509" cy="1418252"/>
      </dsp:txXfrm>
    </dsp:sp>
    <dsp:sp modelId="{E76B8055-C58C-49A5-9FBE-9FC9E2E94E90}">
      <dsp:nvSpPr>
        <dsp:cNvPr id="0" name=""/>
        <dsp:cNvSpPr/>
      </dsp:nvSpPr>
      <dsp:spPr>
        <a:xfrm rot="5400000">
          <a:off x="3307873" y="120542"/>
          <a:ext cx="1848127" cy="1607870"/>
        </a:xfrm>
        <a:prstGeom prst="hexagon">
          <a:avLst>
            <a:gd name="adj" fmla="val 25000"/>
            <a:gd name="vf" fmla="val 115470"/>
          </a:avLst>
        </a:prstGeom>
        <a:solidFill>
          <a:srgbClr val="7030A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3600" kern="1200"/>
        </a:p>
      </dsp:txBody>
      <dsp:txXfrm rot="-5400000">
        <a:off x="3678561" y="288414"/>
        <a:ext cx="1106750" cy="1272127"/>
      </dsp:txXfrm>
    </dsp:sp>
    <dsp:sp modelId="{6B877135-6B64-4BB3-B517-C7690BD590AB}">
      <dsp:nvSpPr>
        <dsp:cNvPr id="0" name=""/>
        <dsp:cNvSpPr/>
      </dsp:nvSpPr>
      <dsp:spPr>
        <a:xfrm rot="5400000">
          <a:off x="4172796" y="1689233"/>
          <a:ext cx="1848127" cy="1607870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kern="1200" dirty="0"/>
            <a:t>REGIONE LIGURIA</a:t>
          </a:r>
        </a:p>
      </dsp:txBody>
      <dsp:txXfrm rot="-5400000">
        <a:off x="4543484" y="1857105"/>
        <a:ext cx="1106750" cy="1272127"/>
      </dsp:txXfrm>
    </dsp:sp>
    <dsp:sp modelId="{4527F90A-A6AA-4C93-952E-B102A45B0B7A}">
      <dsp:nvSpPr>
        <dsp:cNvPr id="0" name=""/>
        <dsp:cNvSpPr/>
      </dsp:nvSpPr>
      <dsp:spPr>
        <a:xfrm>
          <a:off x="2232201" y="1727522"/>
          <a:ext cx="1992404" cy="15312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100" b="1" i="1" kern="1200" dirty="0">
              <a:solidFill>
                <a:schemeClr val="tx2"/>
              </a:solidFill>
              <a:effectLst/>
              <a:latin typeface="+mj-lt"/>
              <a:ea typeface="Times New Roman" panose="02020603050405020304" pitchFamily="18" charset="0"/>
              <a:cs typeface="+mn-cs"/>
            </a:rPr>
            <a:t>la Delibera di Giunta n° 485-2022 </a:t>
          </a:r>
          <a:r>
            <a:rPr lang="it-IT" sz="1100" b="0" i="1" kern="1200" dirty="0">
              <a:solidFill>
                <a:schemeClr val="tx2"/>
              </a:solidFill>
              <a:effectLst/>
              <a:latin typeface="+mj-lt"/>
              <a:ea typeface="Times New Roman" panose="02020603050405020304" pitchFamily="18" charset="0"/>
              <a:cs typeface="+mn-cs"/>
            </a:rPr>
            <a:t>localizza</a:t>
          </a:r>
          <a:r>
            <a:rPr lang="it-IT" sz="1100" i="1" kern="1200" dirty="0">
              <a:solidFill>
                <a:schemeClr val="tx2"/>
              </a:solidFill>
              <a:effectLst/>
              <a:latin typeface="+mj-lt"/>
              <a:ea typeface="Times New Roman" panose="02020603050405020304" pitchFamily="18" charset="0"/>
              <a:cs typeface="+mn-cs"/>
            </a:rPr>
            <a:t> risorse di edilizia sovvenzionata a favore di </a:t>
          </a:r>
          <a:r>
            <a:rPr lang="it-IT" sz="1100" b="1" i="1" kern="1200" dirty="0">
              <a:solidFill>
                <a:schemeClr val="tx2"/>
              </a:solidFill>
              <a:effectLst/>
              <a:latin typeface="+mj-lt"/>
              <a:ea typeface="Times New Roman" panose="02020603050405020304" pitchFamily="18" charset="0"/>
              <a:cs typeface="+mn-cs"/>
            </a:rPr>
            <a:t>ARTE di Imperia </a:t>
          </a:r>
          <a:r>
            <a:rPr lang="it-IT" sz="1100" i="1" kern="1200" dirty="0">
              <a:solidFill>
                <a:schemeClr val="tx2"/>
              </a:solidFill>
              <a:effectLst/>
              <a:latin typeface="+mj-lt"/>
              <a:ea typeface="Times New Roman" panose="02020603050405020304" pitchFamily="18" charset="0"/>
              <a:cs typeface="+mn-cs"/>
            </a:rPr>
            <a:t>per l’acquisto di immobili da destinare alla coabitazione sociale </a:t>
          </a:r>
          <a:r>
            <a:rPr lang="it-IT" sz="1100" b="1" i="1" kern="1200" dirty="0">
              <a:solidFill>
                <a:schemeClr val="tx2"/>
              </a:solidFill>
              <a:effectLst/>
              <a:latin typeface="+mj-lt"/>
              <a:ea typeface="Times New Roman" panose="02020603050405020304" pitchFamily="18" charset="0"/>
              <a:cs typeface="+mn-cs"/>
            </a:rPr>
            <a:t>e la realizzazione di un Centro Servizi all’Utenza </a:t>
          </a:r>
          <a:r>
            <a:rPr lang="it-IT" sz="1400" b="1" i="1" kern="1200" dirty="0">
              <a:solidFill>
                <a:schemeClr val="tx2"/>
              </a:solidFill>
              <a:effectLst/>
              <a:latin typeface="+mj-lt"/>
              <a:ea typeface="Times New Roman" panose="02020603050405020304" pitchFamily="18" charset="0"/>
              <a:cs typeface="+mn-cs"/>
            </a:rPr>
            <a:t>per 1 milione di EURO</a:t>
          </a:r>
          <a:r>
            <a:rPr lang="it-IT" sz="1400" b="1" i="1" u="none" kern="1200" dirty="0"/>
            <a:t> </a:t>
          </a:r>
          <a:endParaRPr lang="it-IT" sz="1400" b="1" kern="1200" dirty="0"/>
        </a:p>
      </dsp:txBody>
      <dsp:txXfrm>
        <a:off x="2232201" y="1727522"/>
        <a:ext cx="1992404" cy="1531291"/>
      </dsp:txXfrm>
    </dsp:sp>
    <dsp:sp modelId="{CFB62C2D-4287-40EA-AC9A-16CD47E352F3}">
      <dsp:nvSpPr>
        <dsp:cNvPr id="0" name=""/>
        <dsp:cNvSpPr/>
      </dsp:nvSpPr>
      <dsp:spPr>
        <a:xfrm rot="5400000">
          <a:off x="5909297" y="1689233"/>
          <a:ext cx="1848127" cy="1607870"/>
        </a:xfrm>
        <a:prstGeom prst="hexagon">
          <a:avLst>
            <a:gd name="adj" fmla="val 25000"/>
            <a:gd name="vf" fmla="val 115470"/>
          </a:avLst>
        </a:prstGeom>
        <a:solidFill>
          <a:srgbClr val="92D05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3600" kern="1200"/>
        </a:p>
      </dsp:txBody>
      <dsp:txXfrm rot="-5400000">
        <a:off x="6279985" y="1857105"/>
        <a:ext cx="1106750" cy="1272127"/>
      </dsp:txXfrm>
    </dsp:sp>
    <dsp:sp modelId="{D4612FE8-7636-418E-9650-6D42433557FD}">
      <dsp:nvSpPr>
        <dsp:cNvPr id="0" name=""/>
        <dsp:cNvSpPr/>
      </dsp:nvSpPr>
      <dsp:spPr>
        <a:xfrm rot="5400000">
          <a:off x="5064391" y="3258338"/>
          <a:ext cx="1848127" cy="1607870"/>
        </a:xfrm>
        <a:prstGeom prst="hexagon">
          <a:avLst>
            <a:gd name="adj" fmla="val 25000"/>
            <a:gd name="vf" fmla="val 115470"/>
          </a:avLst>
        </a:prstGeom>
        <a:solidFill>
          <a:srgbClr val="FFFF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kern="1200" dirty="0">
              <a:solidFill>
                <a:schemeClr val="tx1"/>
              </a:solidFill>
            </a:rPr>
            <a:t>AL.CO.TRA</a:t>
          </a:r>
        </a:p>
      </dsp:txBody>
      <dsp:txXfrm rot="-5400000">
        <a:off x="5435079" y="3426210"/>
        <a:ext cx="1106750" cy="1272127"/>
      </dsp:txXfrm>
    </dsp:sp>
    <dsp:sp modelId="{BB173EED-43D6-4194-8281-38BB438AA720}">
      <dsp:nvSpPr>
        <dsp:cNvPr id="0" name=""/>
        <dsp:cNvSpPr/>
      </dsp:nvSpPr>
      <dsp:spPr>
        <a:xfrm>
          <a:off x="6821162" y="3443865"/>
          <a:ext cx="2062509" cy="12359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100" b="1" i="0" u="none" kern="1200" dirty="0"/>
            <a:t>“</a:t>
          </a:r>
          <a:r>
            <a:rPr lang="it-IT" sz="1100" b="1" i="1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Alpi Latine </a:t>
          </a:r>
          <a:r>
            <a:rPr lang="it-IT" sz="1100" b="1" i="1" kern="1200" dirty="0" err="1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COoperazione</a:t>
          </a:r>
          <a:r>
            <a:rPr lang="it-IT" sz="1100" b="1" i="1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 </a:t>
          </a:r>
          <a:r>
            <a:rPr lang="it-IT" sz="1100" b="1" i="1" kern="1200" dirty="0" err="1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TRAnsfrontaliera</a:t>
          </a:r>
          <a:r>
            <a:rPr lang="it-IT" sz="1100" i="1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” -Programma di cooperazione transfrontaliera che interessa le frontiere terrestri (lungo l’arco alpino) tra Italia e Francia e coinvolge solo le regioni italiane di Piemonte, Liguria e Valle d’Aosta </a:t>
          </a:r>
          <a:r>
            <a:rPr lang="it-IT" sz="1100" b="1" i="1" kern="1200" dirty="0">
              <a:solidFill>
                <a:srgbClr val="002855"/>
              </a:solidFill>
              <a:effectLst/>
              <a:latin typeface="Arial"/>
              <a:ea typeface="Times New Roman" panose="02020603050405020304" pitchFamily="18" charset="0"/>
              <a:cs typeface="ヒラギノ角ゴ ProN W3"/>
            </a:rPr>
            <a:t>- Asse IV “Inclusione sociale e cittadinanza europea</a:t>
          </a:r>
        </a:p>
      </dsp:txBody>
      <dsp:txXfrm>
        <a:off x="6821162" y="3443865"/>
        <a:ext cx="2062509" cy="1235986"/>
      </dsp:txXfrm>
    </dsp:sp>
    <dsp:sp modelId="{BD298F8E-FB85-4D25-8AC0-91A9D14943B0}">
      <dsp:nvSpPr>
        <dsp:cNvPr id="0" name=""/>
        <dsp:cNvSpPr/>
      </dsp:nvSpPr>
      <dsp:spPr>
        <a:xfrm rot="5400000">
          <a:off x="3307873" y="3257923"/>
          <a:ext cx="1848127" cy="1607870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3600" kern="1200"/>
        </a:p>
      </dsp:txBody>
      <dsp:txXfrm rot="-5400000">
        <a:off x="3678561" y="3425795"/>
        <a:ext cx="1106750" cy="127212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5AE63B5-7CD3-4C70-B57F-C36ABE19D8E6}">
      <dsp:nvSpPr>
        <dsp:cNvPr id="0" name=""/>
        <dsp:cNvSpPr/>
      </dsp:nvSpPr>
      <dsp:spPr>
        <a:xfrm>
          <a:off x="3697" y="246107"/>
          <a:ext cx="1095669" cy="547834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700" kern="1200" dirty="0"/>
            <a:t> PROJECT MANAGEMENT</a:t>
          </a:r>
        </a:p>
      </dsp:txBody>
      <dsp:txXfrm>
        <a:off x="19743" y="262153"/>
        <a:ext cx="1063577" cy="515742"/>
      </dsp:txXfrm>
    </dsp:sp>
    <dsp:sp modelId="{23C12378-C5F6-4C2D-9CC4-EE18FF5C23CD}">
      <dsp:nvSpPr>
        <dsp:cNvPr id="0" name=""/>
        <dsp:cNvSpPr/>
      </dsp:nvSpPr>
      <dsp:spPr>
        <a:xfrm>
          <a:off x="113264" y="793941"/>
          <a:ext cx="109566" cy="4108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10875"/>
              </a:lnTo>
              <a:lnTo>
                <a:pt x="109566" y="410875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5D9E4D-A31F-405D-BB5B-B79286EF9EAA}">
      <dsp:nvSpPr>
        <dsp:cNvPr id="0" name=""/>
        <dsp:cNvSpPr/>
      </dsp:nvSpPr>
      <dsp:spPr>
        <a:xfrm>
          <a:off x="222831" y="930900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SELEZIONARE IL TEAM DI PROGETTO</a:t>
          </a:r>
        </a:p>
      </dsp:txBody>
      <dsp:txXfrm>
        <a:off x="238877" y="946946"/>
        <a:ext cx="844443" cy="515742"/>
      </dsp:txXfrm>
    </dsp:sp>
    <dsp:sp modelId="{B3326C00-9B5C-4143-8A65-0F09AEDFDB71}">
      <dsp:nvSpPr>
        <dsp:cNvPr id="0" name=""/>
        <dsp:cNvSpPr/>
      </dsp:nvSpPr>
      <dsp:spPr>
        <a:xfrm>
          <a:off x="113264" y="793941"/>
          <a:ext cx="109566" cy="10956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95669"/>
              </a:lnTo>
              <a:lnTo>
                <a:pt x="109566" y="1095669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C1CA2F-CD36-44F9-A33E-D4B009350723}">
      <dsp:nvSpPr>
        <dsp:cNvPr id="0" name=""/>
        <dsp:cNvSpPr/>
      </dsp:nvSpPr>
      <dsp:spPr>
        <a:xfrm>
          <a:off x="222831" y="1615693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DEFINIRE GLI OBIETTIVI E I DELIVERABLE </a:t>
          </a:r>
        </a:p>
      </dsp:txBody>
      <dsp:txXfrm>
        <a:off x="238877" y="1631739"/>
        <a:ext cx="844443" cy="515742"/>
      </dsp:txXfrm>
    </dsp:sp>
    <dsp:sp modelId="{36B8ABE4-F642-40FC-866F-A8C98F84D8E2}">
      <dsp:nvSpPr>
        <dsp:cNvPr id="0" name=""/>
        <dsp:cNvSpPr/>
      </dsp:nvSpPr>
      <dsp:spPr>
        <a:xfrm>
          <a:off x="113264" y="793941"/>
          <a:ext cx="109566" cy="17804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80462"/>
              </a:lnTo>
              <a:lnTo>
                <a:pt x="109566" y="178046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848BA92-5848-4591-B8D7-13EEE889DFAC}">
      <dsp:nvSpPr>
        <dsp:cNvPr id="0" name=""/>
        <dsp:cNvSpPr/>
      </dsp:nvSpPr>
      <dsp:spPr>
        <a:xfrm>
          <a:off x="222831" y="2300487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INDIVIDUARE I FCS E ANALISI STAKEHOLDER</a:t>
          </a:r>
        </a:p>
      </dsp:txBody>
      <dsp:txXfrm>
        <a:off x="238877" y="2316533"/>
        <a:ext cx="844443" cy="515742"/>
      </dsp:txXfrm>
    </dsp:sp>
    <dsp:sp modelId="{065E05F3-0CAB-4AB7-9CB5-34C405F21307}">
      <dsp:nvSpPr>
        <dsp:cNvPr id="0" name=""/>
        <dsp:cNvSpPr/>
      </dsp:nvSpPr>
      <dsp:spPr>
        <a:xfrm>
          <a:off x="113264" y="793941"/>
          <a:ext cx="109566" cy="24652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65255"/>
              </a:lnTo>
              <a:lnTo>
                <a:pt x="109566" y="2465255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063A13-6F2A-4032-83CE-0CBFE825450D}">
      <dsp:nvSpPr>
        <dsp:cNvPr id="0" name=""/>
        <dsp:cNvSpPr/>
      </dsp:nvSpPr>
      <dsp:spPr>
        <a:xfrm>
          <a:off x="222831" y="2985280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ORGANIZZARE RIUNIONI STAKEHOLDER</a:t>
          </a:r>
        </a:p>
      </dsp:txBody>
      <dsp:txXfrm>
        <a:off x="238877" y="3001326"/>
        <a:ext cx="844443" cy="515742"/>
      </dsp:txXfrm>
    </dsp:sp>
    <dsp:sp modelId="{B9BF76DD-4111-422C-96C9-72E6B7FD553A}">
      <dsp:nvSpPr>
        <dsp:cNvPr id="0" name=""/>
        <dsp:cNvSpPr/>
      </dsp:nvSpPr>
      <dsp:spPr>
        <a:xfrm>
          <a:off x="113264" y="793941"/>
          <a:ext cx="109566" cy="31500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50049"/>
              </a:lnTo>
              <a:lnTo>
                <a:pt x="109566" y="3150049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B0BBE8-B049-4A16-BA5F-F3F4806BE9BF}">
      <dsp:nvSpPr>
        <dsp:cNvPr id="0" name=""/>
        <dsp:cNvSpPr/>
      </dsp:nvSpPr>
      <dsp:spPr>
        <a:xfrm>
          <a:off x="222831" y="3670073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COORDINARE IL PROGETTO</a:t>
          </a:r>
        </a:p>
      </dsp:txBody>
      <dsp:txXfrm>
        <a:off x="238877" y="3686119"/>
        <a:ext cx="844443" cy="515742"/>
      </dsp:txXfrm>
    </dsp:sp>
    <dsp:sp modelId="{42AAE9D3-C5AF-462D-959E-EF5871DF43DA}">
      <dsp:nvSpPr>
        <dsp:cNvPr id="0" name=""/>
        <dsp:cNvSpPr/>
      </dsp:nvSpPr>
      <dsp:spPr>
        <a:xfrm>
          <a:off x="113264" y="793941"/>
          <a:ext cx="109566" cy="38348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34842"/>
              </a:lnTo>
              <a:lnTo>
                <a:pt x="109566" y="383484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EA9A53-937B-4589-92FC-05A4A07D6F2C}">
      <dsp:nvSpPr>
        <dsp:cNvPr id="0" name=""/>
        <dsp:cNvSpPr/>
      </dsp:nvSpPr>
      <dsp:spPr>
        <a:xfrm>
          <a:off x="222831" y="4354867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VALUTAZIONE POST REALIZZATIVA E MONITORAGGIO KPI</a:t>
          </a:r>
        </a:p>
      </dsp:txBody>
      <dsp:txXfrm>
        <a:off x="238877" y="4370913"/>
        <a:ext cx="844443" cy="515742"/>
      </dsp:txXfrm>
    </dsp:sp>
    <dsp:sp modelId="{BBABD7EE-A217-4053-97D8-1EDBCC2CB40E}">
      <dsp:nvSpPr>
        <dsp:cNvPr id="0" name=""/>
        <dsp:cNvSpPr/>
      </dsp:nvSpPr>
      <dsp:spPr>
        <a:xfrm>
          <a:off x="1373284" y="246107"/>
          <a:ext cx="1095669" cy="547834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700" kern="1200" dirty="0"/>
            <a:t>PROTOCOLLI D’INTESA CON FF.OO E SS</a:t>
          </a:r>
        </a:p>
      </dsp:txBody>
      <dsp:txXfrm>
        <a:off x="1389330" y="262153"/>
        <a:ext cx="1063577" cy="515742"/>
      </dsp:txXfrm>
    </dsp:sp>
    <dsp:sp modelId="{4C873FA2-F743-44CC-B3F8-20AB4B9DD391}">
      <dsp:nvSpPr>
        <dsp:cNvPr id="0" name=""/>
        <dsp:cNvSpPr/>
      </dsp:nvSpPr>
      <dsp:spPr>
        <a:xfrm>
          <a:off x="1482851" y="793941"/>
          <a:ext cx="109566" cy="4108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10875"/>
              </a:lnTo>
              <a:lnTo>
                <a:pt x="109566" y="410875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B5F4F3-0273-4223-AC74-BE84CF3AC012}">
      <dsp:nvSpPr>
        <dsp:cNvPr id="0" name=""/>
        <dsp:cNvSpPr/>
      </dsp:nvSpPr>
      <dsp:spPr>
        <a:xfrm>
          <a:off x="1592418" y="930900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PRENDERE CONTATTI CON RAPPRESENTANTI</a:t>
          </a:r>
        </a:p>
      </dsp:txBody>
      <dsp:txXfrm>
        <a:off x="1608464" y="946946"/>
        <a:ext cx="844443" cy="515742"/>
      </dsp:txXfrm>
    </dsp:sp>
    <dsp:sp modelId="{51586B9C-85FB-4899-B4FF-F205C0BBA3F0}">
      <dsp:nvSpPr>
        <dsp:cNvPr id="0" name=""/>
        <dsp:cNvSpPr/>
      </dsp:nvSpPr>
      <dsp:spPr>
        <a:xfrm>
          <a:off x="1482851" y="793941"/>
          <a:ext cx="109566" cy="10956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95669"/>
              </a:lnTo>
              <a:lnTo>
                <a:pt x="109566" y="1095669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5FA5C41-A6BF-45CE-8E73-B7448D607955}">
      <dsp:nvSpPr>
        <dsp:cNvPr id="0" name=""/>
        <dsp:cNvSpPr/>
      </dsp:nvSpPr>
      <dsp:spPr>
        <a:xfrm>
          <a:off x="1592418" y="1615693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PREDISPORRE BOZZE DI PROTOCOLLI</a:t>
          </a:r>
        </a:p>
      </dsp:txBody>
      <dsp:txXfrm>
        <a:off x="1608464" y="1631739"/>
        <a:ext cx="844443" cy="515742"/>
      </dsp:txXfrm>
    </dsp:sp>
    <dsp:sp modelId="{81A64861-5A27-4003-9446-57357989A322}">
      <dsp:nvSpPr>
        <dsp:cNvPr id="0" name=""/>
        <dsp:cNvSpPr/>
      </dsp:nvSpPr>
      <dsp:spPr>
        <a:xfrm>
          <a:off x="1482851" y="793941"/>
          <a:ext cx="109566" cy="17804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80462"/>
              </a:lnTo>
              <a:lnTo>
                <a:pt x="109566" y="178046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14A8FD6-FD46-4170-B83B-12168BE92AAC}">
      <dsp:nvSpPr>
        <dsp:cNvPr id="0" name=""/>
        <dsp:cNvSpPr/>
      </dsp:nvSpPr>
      <dsp:spPr>
        <a:xfrm>
          <a:off x="1592418" y="2300487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ASSUNZIONE DECRETI DI APPROVAZIONE BOZZE</a:t>
          </a:r>
        </a:p>
      </dsp:txBody>
      <dsp:txXfrm>
        <a:off x="1608464" y="2316533"/>
        <a:ext cx="844443" cy="515742"/>
      </dsp:txXfrm>
    </dsp:sp>
    <dsp:sp modelId="{6E66D4B2-96A1-400C-AC52-000FCD4EF449}">
      <dsp:nvSpPr>
        <dsp:cNvPr id="0" name=""/>
        <dsp:cNvSpPr/>
      </dsp:nvSpPr>
      <dsp:spPr>
        <a:xfrm>
          <a:off x="1482851" y="793941"/>
          <a:ext cx="109566" cy="24652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65255"/>
              </a:lnTo>
              <a:lnTo>
                <a:pt x="109566" y="2465255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EAA0338-DBD3-4B8E-B3E0-949D36D41AFF}">
      <dsp:nvSpPr>
        <dsp:cNvPr id="0" name=""/>
        <dsp:cNvSpPr/>
      </dsp:nvSpPr>
      <dsp:spPr>
        <a:xfrm>
          <a:off x="1592418" y="2985280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SOTTOSCRIZIONE PROTOCOLLI</a:t>
          </a:r>
        </a:p>
      </dsp:txBody>
      <dsp:txXfrm>
        <a:off x="1608464" y="3001326"/>
        <a:ext cx="844443" cy="515742"/>
      </dsp:txXfrm>
    </dsp:sp>
    <dsp:sp modelId="{AF60D723-C84E-4783-A33B-18E76161C2D9}">
      <dsp:nvSpPr>
        <dsp:cNvPr id="0" name=""/>
        <dsp:cNvSpPr/>
      </dsp:nvSpPr>
      <dsp:spPr>
        <a:xfrm>
          <a:off x="2723608" y="243614"/>
          <a:ext cx="1095669" cy="547834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700" kern="1200" dirty="0"/>
            <a:t>PIATTAFORMA WEB ART’APP PIATTAFORMA NUOVA AGENZIA SOCIALE PER LA CASA </a:t>
          </a:r>
        </a:p>
      </dsp:txBody>
      <dsp:txXfrm>
        <a:off x="2739654" y="259660"/>
        <a:ext cx="1063577" cy="515742"/>
      </dsp:txXfrm>
    </dsp:sp>
    <dsp:sp modelId="{E1D911B7-DF78-4BF5-9787-0C3D10C179D2}">
      <dsp:nvSpPr>
        <dsp:cNvPr id="0" name=""/>
        <dsp:cNvSpPr/>
      </dsp:nvSpPr>
      <dsp:spPr>
        <a:xfrm>
          <a:off x="2833175" y="791449"/>
          <a:ext cx="128828" cy="4133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13368"/>
              </a:lnTo>
              <a:lnTo>
                <a:pt x="128828" y="413368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8B9369-19B6-4BCA-B5D9-347150C433E6}">
      <dsp:nvSpPr>
        <dsp:cNvPr id="0" name=""/>
        <dsp:cNvSpPr/>
      </dsp:nvSpPr>
      <dsp:spPr>
        <a:xfrm>
          <a:off x="2962004" y="930900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PREDISPOSIZIONE CAPITOLATI DI GARA</a:t>
          </a:r>
        </a:p>
      </dsp:txBody>
      <dsp:txXfrm>
        <a:off x="2978050" y="946946"/>
        <a:ext cx="844443" cy="515742"/>
      </dsp:txXfrm>
    </dsp:sp>
    <dsp:sp modelId="{93BF51D4-094B-4B6F-907E-9E7BBAC35BB7}">
      <dsp:nvSpPr>
        <dsp:cNvPr id="0" name=""/>
        <dsp:cNvSpPr/>
      </dsp:nvSpPr>
      <dsp:spPr>
        <a:xfrm>
          <a:off x="2833175" y="791449"/>
          <a:ext cx="128828" cy="10981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98161"/>
              </a:lnTo>
              <a:lnTo>
                <a:pt x="128828" y="1098161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84D0DAC-9003-4843-A5AC-1A4155676E0B}">
      <dsp:nvSpPr>
        <dsp:cNvPr id="0" name=""/>
        <dsp:cNvSpPr/>
      </dsp:nvSpPr>
      <dsp:spPr>
        <a:xfrm>
          <a:off x="2962004" y="1615693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ADOZIONE DETERMINE A CONTRARRE E CIG</a:t>
          </a:r>
        </a:p>
      </dsp:txBody>
      <dsp:txXfrm>
        <a:off x="2978050" y="1631739"/>
        <a:ext cx="844443" cy="515742"/>
      </dsp:txXfrm>
    </dsp:sp>
    <dsp:sp modelId="{475FBF9B-0A2F-4D0E-963A-71ABB28D1BAF}">
      <dsp:nvSpPr>
        <dsp:cNvPr id="0" name=""/>
        <dsp:cNvSpPr/>
      </dsp:nvSpPr>
      <dsp:spPr>
        <a:xfrm>
          <a:off x="2833175" y="791449"/>
          <a:ext cx="128828" cy="17829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82955"/>
              </a:lnTo>
              <a:lnTo>
                <a:pt x="128828" y="1782955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90BF67-E076-49D6-8A9D-AFDB9B75AE72}">
      <dsp:nvSpPr>
        <dsp:cNvPr id="0" name=""/>
        <dsp:cNvSpPr/>
      </dsp:nvSpPr>
      <dsp:spPr>
        <a:xfrm>
          <a:off x="2962004" y="2300487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PUBBLICAZIONE GARA</a:t>
          </a:r>
        </a:p>
      </dsp:txBody>
      <dsp:txXfrm>
        <a:off x="2978050" y="2316533"/>
        <a:ext cx="844443" cy="515742"/>
      </dsp:txXfrm>
    </dsp:sp>
    <dsp:sp modelId="{4B9C3C19-2230-4B6D-840B-61BCDC05BAB1}">
      <dsp:nvSpPr>
        <dsp:cNvPr id="0" name=""/>
        <dsp:cNvSpPr/>
      </dsp:nvSpPr>
      <dsp:spPr>
        <a:xfrm>
          <a:off x="2833175" y="791449"/>
          <a:ext cx="128828" cy="24677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67748"/>
              </a:lnTo>
              <a:lnTo>
                <a:pt x="128828" y="2467748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56F642-C0CD-413E-A5BE-E9A1040B8205}">
      <dsp:nvSpPr>
        <dsp:cNvPr id="0" name=""/>
        <dsp:cNvSpPr/>
      </dsp:nvSpPr>
      <dsp:spPr>
        <a:xfrm>
          <a:off x="2962004" y="2985280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APERTURA OFFERTE</a:t>
          </a:r>
        </a:p>
      </dsp:txBody>
      <dsp:txXfrm>
        <a:off x="2978050" y="3001326"/>
        <a:ext cx="844443" cy="515742"/>
      </dsp:txXfrm>
    </dsp:sp>
    <dsp:sp modelId="{448C27D1-6316-465E-A028-1B6090D06F1D}">
      <dsp:nvSpPr>
        <dsp:cNvPr id="0" name=""/>
        <dsp:cNvSpPr/>
      </dsp:nvSpPr>
      <dsp:spPr>
        <a:xfrm>
          <a:off x="2833175" y="791449"/>
          <a:ext cx="128828" cy="31525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52541"/>
              </a:lnTo>
              <a:lnTo>
                <a:pt x="128828" y="3152541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586BDB-3108-46FA-A1F5-BE881CF13E80}">
      <dsp:nvSpPr>
        <dsp:cNvPr id="0" name=""/>
        <dsp:cNvSpPr/>
      </dsp:nvSpPr>
      <dsp:spPr>
        <a:xfrm>
          <a:off x="2962004" y="3670073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VERIFICA REQUISITI</a:t>
          </a:r>
        </a:p>
      </dsp:txBody>
      <dsp:txXfrm>
        <a:off x="2978050" y="3686119"/>
        <a:ext cx="844443" cy="515742"/>
      </dsp:txXfrm>
    </dsp:sp>
    <dsp:sp modelId="{CD9930CB-6141-478C-95A5-8F101DAB5B7A}">
      <dsp:nvSpPr>
        <dsp:cNvPr id="0" name=""/>
        <dsp:cNvSpPr/>
      </dsp:nvSpPr>
      <dsp:spPr>
        <a:xfrm>
          <a:off x="2833175" y="791449"/>
          <a:ext cx="128828" cy="38373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37334"/>
              </a:lnTo>
              <a:lnTo>
                <a:pt x="128828" y="3837334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5C61A1-E544-480E-BEC3-ABD85E08B779}">
      <dsp:nvSpPr>
        <dsp:cNvPr id="0" name=""/>
        <dsp:cNvSpPr/>
      </dsp:nvSpPr>
      <dsp:spPr>
        <a:xfrm>
          <a:off x="2962004" y="4354867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AGGIUDICAZIONE</a:t>
          </a:r>
        </a:p>
      </dsp:txBody>
      <dsp:txXfrm>
        <a:off x="2978050" y="4370913"/>
        <a:ext cx="844443" cy="515742"/>
      </dsp:txXfrm>
    </dsp:sp>
    <dsp:sp modelId="{A2240285-9A50-4614-82C8-070A63EC9045}">
      <dsp:nvSpPr>
        <dsp:cNvPr id="0" name=""/>
        <dsp:cNvSpPr/>
      </dsp:nvSpPr>
      <dsp:spPr>
        <a:xfrm>
          <a:off x="4112457" y="246107"/>
          <a:ext cx="1095669" cy="547834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700" kern="1200" dirty="0"/>
            <a:t>PROCEDURE DI ASSUNZIONE COMMUNTY MANAGER</a:t>
          </a:r>
        </a:p>
      </dsp:txBody>
      <dsp:txXfrm>
        <a:off x="4128503" y="262153"/>
        <a:ext cx="1063577" cy="515742"/>
      </dsp:txXfrm>
    </dsp:sp>
    <dsp:sp modelId="{274DE616-B393-4E2F-8106-B3AE501CA4C7}">
      <dsp:nvSpPr>
        <dsp:cNvPr id="0" name=""/>
        <dsp:cNvSpPr/>
      </dsp:nvSpPr>
      <dsp:spPr>
        <a:xfrm>
          <a:off x="4222024" y="793941"/>
          <a:ext cx="109566" cy="4108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10875"/>
              </a:lnTo>
              <a:lnTo>
                <a:pt x="109566" y="410875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362925-EFC7-4FBC-88A0-8AD984837F25}">
      <dsp:nvSpPr>
        <dsp:cNvPr id="0" name=""/>
        <dsp:cNvSpPr/>
      </dsp:nvSpPr>
      <dsp:spPr>
        <a:xfrm>
          <a:off x="4331591" y="930900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PREDISPOSIZIONE BANDO</a:t>
          </a:r>
        </a:p>
      </dsp:txBody>
      <dsp:txXfrm>
        <a:off x="4347637" y="946946"/>
        <a:ext cx="844443" cy="515742"/>
      </dsp:txXfrm>
    </dsp:sp>
    <dsp:sp modelId="{E41256D4-B435-4CE1-8D8C-1B8775D9501E}">
      <dsp:nvSpPr>
        <dsp:cNvPr id="0" name=""/>
        <dsp:cNvSpPr/>
      </dsp:nvSpPr>
      <dsp:spPr>
        <a:xfrm>
          <a:off x="4222024" y="793941"/>
          <a:ext cx="109566" cy="10956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95669"/>
              </a:lnTo>
              <a:lnTo>
                <a:pt x="109566" y="1095669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F4A89F-4175-490F-9DEC-663D31990162}">
      <dsp:nvSpPr>
        <dsp:cNvPr id="0" name=""/>
        <dsp:cNvSpPr/>
      </dsp:nvSpPr>
      <dsp:spPr>
        <a:xfrm>
          <a:off x="4331591" y="1615693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PUBBLICAZIONE</a:t>
          </a:r>
        </a:p>
      </dsp:txBody>
      <dsp:txXfrm>
        <a:off x="4347637" y="1631739"/>
        <a:ext cx="844443" cy="515742"/>
      </dsp:txXfrm>
    </dsp:sp>
    <dsp:sp modelId="{287A4EA9-D814-4ABF-BC19-7544579B7182}">
      <dsp:nvSpPr>
        <dsp:cNvPr id="0" name=""/>
        <dsp:cNvSpPr/>
      </dsp:nvSpPr>
      <dsp:spPr>
        <a:xfrm>
          <a:off x="4222024" y="793941"/>
          <a:ext cx="109566" cy="17804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80462"/>
              </a:lnTo>
              <a:lnTo>
                <a:pt x="109566" y="178046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0B1FF7-37FF-4F21-8C17-0D95C3288AF5}">
      <dsp:nvSpPr>
        <dsp:cNvPr id="0" name=""/>
        <dsp:cNvSpPr/>
      </dsp:nvSpPr>
      <dsp:spPr>
        <a:xfrm>
          <a:off x="4331591" y="2300487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ESAME DOMANDE</a:t>
          </a:r>
        </a:p>
      </dsp:txBody>
      <dsp:txXfrm>
        <a:off x="4347637" y="2316533"/>
        <a:ext cx="844443" cy="515742"/>
      </dsp:txXfrm>
    </dsp:sp>
    <dsp:sp modelId="{176AFAB8-37E3-46F8-A0C3-22E65F442DC4}">
      <dsp:nvSpPr>
        <dsp:cNvPr id="0" name=""/>
        <dsp:cNvSpPr/>
      </dsp:nvSpPr>
      <dsp:spPr>
        <a:xfrm>
          <a:off x="4222024" y="793941"/>
          <a:ext cx="109566" cy="24652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65255"/>
              </a:lnTo>
              <a:lnTo>
                <a:pt x="109566" y="2465255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4CFB17-08AF-4958-A713-FF225B4332A3}">
      <dsp:nvSpPr>
        <dsp:cNvPr id="0" name=""/>
        <dsp:cNvSpPr/>
      </dsp:nvSpPr>
      <dsp:spPr>
        <a:xfrm>
          <a:off x="4331591" y="2985280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CONVOCAZIONE CANDIDATI</a:t>
          </a:r>
        </a:p>
      </dsp:txBody>
      <dsp:txXfrm>
        <a:off x="4347637" y="3001326"/>
        <a:ext cx="844443" cy="515742"/>
      </dsp:txXfrm>
    </dsp:sp>
    <dsp:sp modelId="{D889A515-191A-4982-AEEC-3ECE44CEC66F}">
      <dsp:nvSpPr>
        <dsp:cNvPr id="0" name=""/>
        <dsp:cNvSpPr/>
      </dsp:nvSpPr>
      <dsp:spPr>
        <a:xfrm>
          <a:off x="4222024" y="793941"/>
          <a:ext cx="109566" cy="31500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50049"/>
              </a:lnTo>
              <a:lnTo>
                <a:pt x="109566" y="3150049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3C7241-7E4E-4347-A849-02021AA566B9}">
      <dsp:nvSpPr>
        <dsp:cNvPr id="0" name=""/>
        <dsp:cNvSpPr/>
      </dsp:nvSpPr>
      <dsp:spPr>
        <a:xfrm>
          <a:off x="4331591" y="3670073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NOMINA COMMISSIONE</a:t>
          </a:r>
        </a:p>
      </dsp:txBody>
      <dsp:txXfrm>
        <a:off x="4347637" y="3686119"/>
        <a:ext cx="844443" cy="515742"/>
      </dsp:txXfrm>
    </dsp:sp>
    <dsp:sp modelId="{47CFE48C-BF98-4138-91BD-5F57B600C64A}">
      <dsp:nvSpPr>
        <dsp:cNvPr id="0" name=""/>
        <dsp:cNvSpPr/>
      </dsp:nvSpPr>
      <dsp:spPr>
        <a:xfrm>
          <a:off x="4222024" y="793941"/>
          <a:ext cx="109566" cy="38348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34842"/>
              </a:lnTo>
              <a:lnTo>
                <a:pt x="109566" y="383484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DC210A9-5F6B-4A24-8181-45362043AE2C}">
      <dsp:nvSpPr>
        <dsp:cNvPr id="0" name=""/>
        <dsp:cNvSpPr/>
      </dsp:nvSpPr>
      <dsp:spPr>
        <a:xfrm>
          <a:off x="4331591" y="4354867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CONCORSO</a:t>
          </a:r>
        </a:p>
      </dsp:txBody>
      <dsp:txXfrm>
        <a:off x="4347637" y="4370913"/>
        <a:ext cx="844443" cy="515742"/>
      </dsp:txXfrm>
    </dsp:sp>
    <dsp:sp modelId="{5295DC4E-F85B-42F2-A332-0543DC932F23}">
      <dsp:nvSpPr>
        <dsp:cNvPr id="0" name=""/>
        <dsp:cNvSpPr/>
      </dsp:nvSpPr>
      <dsp:spPr>
        <a:xfrm>
          <a:off x="5482043" y="246107"/>
          <a:ext cx="1095669" cy="547834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700" kern="1200" dirty="0"/>
            <a:t>LAVORI DI RECUPERO DEGLI SPAZI EX CONSORZIO</a:t>
          </a:r>
        </a:p>
      </dsp:txBody>
      <dsp:txXfrm>
        <a:off x="5498089" y="262153"/>
        <a:ext cx="1063577" cy="515742"/>
      </dsp:txXfrm>
    </dsp:sp>
    <dsp:sp modelId="{3DCF3D40-45EA-42E7-9BC8-807258FB4B11}">
      <dsp:nvSpPr>
        <dsp:cNvPr id="0" name=""/>
        <dsp:cNvSpPr/>
      </dsp:nvSpPr>
      <dsp:spPr>
        <a:xfrm>
          <a:off x="5591610" y="793941"/>
          <a:ext cx="109566" cy="4108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10875"/>
              </a:lnTo>
              <a:lnTo>
                <a:pt x="109566" y="410875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F03441-419B-4B7F-B19F-502C5D3E0BDA}">
      <dsp:nvSpPr>
        <dsp:cNvPr id="0" name=""/>
        <dsp:cNvSpPr/>
      </dsp:nvSpPr>
      <dsp:spPr>
        <a:xfrm>
          <a:off x="5701177" y="930900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VERIFICHE SUL CANTIERE</a:t>
          </a:r>
        </a:p>
      </dsp:txBody>
      <dsp:txXfrm>
        <a:off x="5717223" y="946946"/>
        <a:ext cx="844443" cy="515742"/>
      </dsp:txXfrm>
    </dsp:sp>
    <dsp:sp modelId="{9CF1185A-3CBC-4C97-8BC9-B087238FD49F}">
      <dsp:nvSpPr>
        <dsp:cNvPr id="0" name=""/>
        <dsp:cNvSpPr/>
      </dsp:nvSpPr>
      <dsp:spPr>
        <a:xfrm>
          <a:off x="5591610" y="793941"/>
          <a:ext cx="109566" cy="10956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95669"/>
              </a:lnTo>
              <a:lnTo>
                <a:pt x="109566" y="1095669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C4F2F0-551E-4A51-B529-03E5C64C3DCE}">
      <dsp:nvSpPr>
        <dsp:cNvPr id="0" name=""/>
        <dsp:cNvSpPr/>
      </dsp:nvSpPr>
      <dsp:spPr>
        <a:xfrm>
          <a:off x="5701177" y="1615693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REDAZIONE SAL</a:t>
          </a:r>
        </a:p>
      </dsp:txBody>
      <dsp:txXfrm>
        <a:off x="5717223" y="1631739"/>
        <a:ext cx="844443" cy="515742"/>
      </dsp:txXfrm>
    </dsp:sp>
    <dsp:sp modelId="{6C5AE948-5787-4F20-A26F-C5CD8C100973}">
      <dsp:nvSpPr>
        <dsp:cNvPr id="0" name=""/>
        <dsp:cNvSpPr/>
      </dsp:nvSpPr>
      <dsp:spPr>
        <a:xfrm>
          <a:off x="5591610" y="793941"/>
          <a:ext cx="109566" cy="17804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80462"/>
              </a:lnTo>
              <a:lnTo>
                <a:pt x="109566" y="178046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B8AFEB-E153-4089-A140-3A2DAF7CE74F}">
      <dsp:nvSpPr>
        <dsp:cNvPr id="0" name=""/>
        <dsp:cNvSpPr/>
      </dsp:nvSpPr>
      <dsp:spPr>
        <a:xfrm>
          <a:off x="5701177" y="2300487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SOTTOSCRIZIONE STATO FINALE</a:t>
          </a:r>
        </a:p>
      </dsp:txBody>
      <dsp:txXfrm>
        <a:off x="5717223" y="2316533"/>
        <a:ext cx="844443" cy="515742"/>
      </dsp:txXfrm>
    </dsp:sp>
    <dsp:sp modelId="{C9EA45BD-66D0-499A-BC6D-D1DF43725BF6}">
      <dsp:nvSpPr>
        <dsp:cNvPr id="0" name=""/>
        <dsp:cNvSpPr/>
      </dsp:nvSpPr>
      <dsp:spPr>
        <a:xfrm>
          <a:off x="5591610" y="793941"/>
          <a:ext cx="109566" cy="24652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65255"/>
              </a:lnTo>
              <a:lnTo>
                <a:pt x="109566" y="2465255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BB1B048-9345-4B7C-A23A-2F177E4125AD}">
      <dsp:nvSpPr>
        <dsp:cNvPr id="0" name=""/>
        <dsp:cNvSpPr/>
      </dsp:nvSpPr>
      <dsp:spPr>
        <a:xfrm>
          <a:off x="5701177" y="2985280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COLLAUDO</a:t>
          </a:r>
        </a:p>
      </dsp:txBody>
      <dsp:txXfrm>
        <a:off x="5717223" y="3001326"/>
        <a:ext cx="844443" cy="515742"/>
      </dsp:txXfrm>
    </dsp:sp>
    <dsp:sp modelId="{EBCE6F39-B8A1-4C7E-A3D0-FE148A02738E}">
      <dsp:nvSpPr>
        <dsp:cNvPr id="0" name=""/>
        <dsp:cNvSpPr/>
      </dsp:nvSpPr>
      <dsp:spPr>
        <a:xfrm>
          <a:off x="5591610" y="793941"/>
          <a:ext cx="109566" cy="31500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50049"/>
              </a:lnTo>
              <a:lnTo>
                <a:pt x="109566" y="3150049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C294B1C-FFA3-4618-807B-D834239A9713}">
      <dsp:nvSpPr>
        <dsp:cNvPr id="0" name=""/>
        <dsp:cNvSpPr/>
      </dsp:nvSpPr>
      <dsp:spPr>
        <a:xfrm>
          <a:off x="5701177" y="3670073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CONSEGNA CANTIERE</a:t>
          </a:r>
        </a:p>
      </dsp:txBody>
      <dsp:txXfrm>
        <a:off x="5717223" y="3686119"/>
        <a:ext cx="844443" cy="515742"/>
      </dsp:txXfrm>
    </dsp:sp>
    <dsp:sp modelId="{EE709107-E215-46D1-9612-2F84D815A55E}">
      <dsp:nvSpPr>
        <dsp:cNvPr id="0" name=""/>
        <dsp:cNvSpPr/>
      </dsp:nvSpPr>
      <dsp:spPr>
        <a:xfrm>
          <a:off x="6851630" y="246107"/>
          <a:ext cx="1095669" cy="547834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700" kern="1200" dirty="0"/>
            <a:t>CORSI DI FORMAZIONE PERSONALE</a:t>
          </a:r>
        </a:p>
      </dsp:txBody>
      <dsp:txXfrm>
        <a:off x="6867676" y="262153"/>
        <a:ext cx="1063577" cy="515742"/>
      </dsp:txXfrm>
    </dsp:sp>
    <dsp:sp modelId="{A5B4C93F-952C-431E-86DA-15B1D2DE6380}">
      <dsp:nvSpPr>
        <dsp:cNvPr id="0" name=""/>
        <dsp:cNvSpPr/>
      </dsp:nvSpPr>
      <dsp:spPr>
        <a:xfrm>
          <a:off x="6961197" y="793941"/>
          <a:ext cx="109566" cy="4108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10875"/>
              </a:lnTo>
              <a:lnTo>
                <a:pt x="109566" y="410875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024552-8157-4BBB-AB1C-102BB7F5E882}">
      <dsp:nvSpPr>
        <dsp:cNvPr id="0" name=""/>
        <dsp:cNvSpPr/>
      </dsp:nvSpPr>
      <dsp:spPr>
        <a:xfrm>
          <a:off x="7070764" y="930900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PIANIFICAZIONE CONTENUTO, LUOGHI, TEMPI, PARTECIPANTI</a:t>
          </a:r>
        </a:p>
      </dsp:txBody>
      <dsp:txXfrm>
        <a:off x="7086810" y="946946"/>
        <a:ext cx="844443" cy="515742"/>
      </dsp:txXfrm>
    </dsp:sp>
    <dsp:sp modelId="{03DEDCD0-EEB6-4B6B-ABBF-A13F5B99032F}">
      <dsp:nvSpPr>
        <dsp:cNvPr id="0" name=""/>
        <dsp:cNvSpPr/>
      </dsp:nvSpPr>
      <dsp:spPr>
        <a:xfrm>
          <a:off x="6961197" y="793941"/>
          <a:ext cx="109566" cy="10956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95669"/>
              </a:lnTo>
              <a:lnTo>
                <a:pt x="109566" y="1095669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21598A-C609-4FB6-B4A3-4E9281E43DDC}">
      <dsp:nvSpPr>
        <dsp:cNvPr id="0" name=""/>
        <dsp:cNvSpPr/>
      </dsp:nvSpPr>
      <dsp:spPr>
        <a:xfrm>
          <a:off x="7070764" y="1615693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ESECUZIONE CORSI</a:t>
          </a:r>
        </a:p>
      </dsp:txBody>
      <dsp:txXfrm>
        <a:off x="7086810" y="1631739"/>
        <a:ext cx="844443" cy="515742"/>
      </dsp:txXfrm>
    </dsp:sp>
    <dsp:sp modelId="{7973476C-67E2-4F61-87F1-760C6F33B54D}">
      <dsp:nvSpPr>
        <dsp:cNvPr id="0" name=""/>
        <dsp:cNvSpPr/>
      </dsp:nvSpPr>
      <dsp:spPr>
        <a:xfrm>
          <a:off x="6961197" y="793941"/>
          <a:ext cx="109566" cy="17804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80462"/>
              </a:lnTo>
              <a:lnTo>
                <a:pt x="109566" y="178046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7D9C0DD-8035-42B1-91B2-102EADD2676A}">
      <dsp:nvSpPr>
        <dsp:cNvPr id="0" name=""/>
        <dsp:cNvSpPr/>
      </dsp:nvSpPr>
      <dsp:spPr>
        <a:xfrm>
          <a:off x="7070764" y="2300487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RIQUALIFICAZIONE PERSONALE</a:t>
          </a:r>
        </a:p>
      </dsp:txBody>
      <dsp:txXfrm>
        <a:off x="7086810" y="2316533"/>
        <a:ext cx="844443" cy="515742"/>
      </dsp:txXfrm>
    </dsp:sp>
    <dsp:sp modelId="{EFE37A88-3F2C-4EF4-9D60-4E0BDAC5C6A3}">
      <dsp:nvSpPr>
        <dsp:cNvPr id="0" name=""/>
        <dsp:cNvSpPr/>
      </dsp:nvSpPr>
      <dsp:spPr>
        <a:xfrm>
          <a:off x="8221217" y="246107"/>
          <a:ext cx="1095669" cy="547834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8890" rIns="13335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700" kern="1200" dirty="0"/>
            <a:t>COMUNICAZIONE VERSO L’INTERNO E VERSO L’ESTERNO</a:t>
          </a:r>
        </a:p>
      </dsp:txBody>
      <dsp:txXfrm>
        <a:off x="8237263" y="262153"/>
        <a:ext cx="1063577" cy="515742"/>
      </dsp:txXfrm>
    </dsp:sp>
    <dsp:sp modelId="{94AE62F6-BB81-4B8D-80EF-896B18EAD897}">
      <dsp:nvSpPr>
        <dsp:cNvPr id="0" name=""/>
        <dsp:cNvSpPr/>
      </dsp:nvSpPr>
      <dsp:spPr>
        <a:xfrm>
          <a:off x="8330783" y="793941"/>
          <a:ext cx="109566" cy="4108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10875"/>
              </a:lnTo>
              <a:lnTo>
                <a:pt x="109566" y="410875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DCBD85-4246-4159-99C5-E4731D88A2DB}">
      <dsp:nvSpPr>
        <dsp:cNvPr id="0" name=""/>
        <dsp:cNvSpPr/>
      </dsp:nvSpPr>
      <dsp:spPr>
        <a:xfrm>
          <a:off x="8440350" y="930900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RIUNIONI CON STAKEHOLDER</a:t>
          </a:r>
        </a:p>
      </dsp:txBody>
      <dsp:txXfrm>
        <a:off x="8456396" y="946946"/>
        <a:ext cx="844443" cy="515742"/>
      </dsp:txXfrm>
    </dsp:sp>
    <dsp:sp modelId="{65F63A20-A4BC-4C40-9D68-5DCC8ED5E903}">
      <dsp:nvSpPr>
        <dsp:cNvPr id="0" name=""/>
        <dsp:cNvSpPr/>
      </dsp:nvSpPr>
      <dsp:spPr>
        <a:xfrm>
          <a:off x="8330783" y="793941"/>
          <a:ext cx="109566" cy="10956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95669"/>
              </a:lnTo>
              <a:lnTo>
                <a:pt x="109566" y="1095669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60B1DB-B126-4490-A671-B530345E4270}">
      <dsp:nvSpPr>
        <dsp:cNvPr id="0" name=""/>
        <dsp:cNvSpPr/>
      </dsp:nvSpPr>
      <dsp:spPr>
        <a:xfrm>
          <a:off x="8440350" y="1615693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PUBBLICAZIONI SU SITO ISTITUZIONALE</a:t>
          </a:r>
        </a:p>
      </dsp:txBody>
      <dsp:txXfrm>
        <a:off x="8456396" y="1631739"/>
        <a:ext cx="844443" cy="515742"/>
      </dsp:txXfrm>
    </dsp:sp>
    <dsp:sp modelId="{FBC61A76-5B33-4EA7-B633-0F22D64F0230}">
      <dsp:nvSpPr>
        <dsp:cNvPr id="0" name=""/>
        <dsp:cNvSpPr/>
      </dsp:nvSpPr>
      <dsp:spPr>
        <a:xfrm>
          <a:off x="8330783" y="793941"/>
          <a:ext cx="109566" cy="17804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80462"/>
              </a:lnTo>
              <a:lnTo>
                <a:pt x="109566" y="1780462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09B3A9-EBB3-4097-93AA-CFF49A0F71FE}">
      <dsp:nvSpPr>
        <dsp:cNvPr id="0" name=""/>
        <dsp:cNvSpPr/>
      </dsp:nvSpPr>
      <dsp:spPr>
        <a:xfrm>
          <a:off x="8440350" y="2300487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COMUNICATI STAMPA</a:t>
          </a:r>
        </a:p>
      </dsp:txBody>
      <dsp:txXfrm>
        <a:off x="8456396" y="2316533"/>
        <a:ext cx="844443" cy="515742"/>
      </dsp:txXfrm>
    </dsp:sp>
    <dsp:sp modelId="{A3F63159-5987-467C-B940-A83A4DCE289C}">
      <dsp:nvSpPr>
        <dsp:cNvPr id="0" name=""/>
        <dsp:cNvSpPr/>
      </dsp:nvSpPr>
      <dsp:spPr>
        <a:xfrm>
          <a:off x="8330783" y="793941"/>
          <a:ext cx="109566" cy="24652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65255"/>
              </a:lnTo>
              <a:lnTo>
                <a:pt x="109566" y="2465255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9ECC3FA-E748-4ACA-8DE2-2C2BA9CA7BBF}">
      <dsp:nvSpPr>
        <dsp:cNvPr id="0" name=""/>
        <dsp:cNvSpPr/>
      </dsp:nvSpPr>
      <dsp:spPr>
        <a:xfrm>
          <a:off x="8440350" y="2985280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OPUSCOLI PUBBLICITARI</a:t>
          </a:r>
        </a:p>
      </dsp:txBody>
      <dsp:txXfrm>
        <a:off x="8456396" y="3001326"/>
        <a:ext cx="844443" cy="515742"/>
      </dsp:txXfrm>
    </dsp:sp>
    <dsp:sp modelId="{AB39A947-6F2E-466D-95BC-B9B1B533E845}">
      <dsp:nvSpPr>
        <dsp:cNvPr id="0" name=""/>
        <dsp:cNvSpPr/>
      </dsp:nvSpPr>
      <dsp:spPr>
        <a:xfrm>
          <a:off x="8330783" y="793941"/>
          <a:ext cx="109566" cy="31500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50049"/>
              </a:lnTo>
              <a:lnTo>
                <a:pt x="109566" y="3150049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4DE8E0-4101-4CBA-ACAF-297029390CC5}">
      <dsp:nvSpPr>
        <dsp:cNvPr id="0" name=""/>
        <dsp:cNvSpPr/>
      </dsp:nvSpPr>
      <dsp:spPr>
        <a:xfrm>
          <a:off x="8440350" y="3670073"/>
          <a:ext cx="876535" cy="5478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7620" rIns="1143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00" kern="1200" dirty="0"/>
            <a:t>SEMESTRALE ARTE INFORMA</a:t>
          </a:r>
        </a:p>
      </dsp:txBody>
      <dsp:txXfrm>
        <a:off x="8456396" y="3686119"/>
        <a:ext cx="844443" cy="51574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5/layout/IconCircleLabelList#1">
  <dgm:title val="Elenco etichette circolari di icone"/>
  <dgm:desc val="Utilizzabile per mostrare blocchi di informazioni non sequenziali o raggruppati con elementi grafici correlati. Offre risultati ottimali con icone o piccole immagini con didascalie brevi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576" cy="496888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l">
              <a:defRPr sz="1200">
                <a:latin typeface="Tahoma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482" y="0"/>
            <a:ext cx="2946575" cy="496888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r">
              <a:defRPr sz="1200" smtClean="0">
                <a:latin typeface="Tahoma" charset="0"/>
              </a:defRPr>
            </a:lvl1pPr>
          </a:lstStyle>
          <a:p>
            <a:pPr>
              <a:defRPr/>
            </a:pPr>
            <a:fld id="{B09C0152-9411-4CC4-995F-CB82A0619650}" type="datetimeFigureOut">
              <a:rPr lang="en-US"/>
              <a:pPr>
                <a:defRPr/>
              </a:pPr>
              <a:t>10/25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164"/>
            <a:ext cx="2946576" cy="496887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l">
              <a:defRPr sz="1200">
                <a:latin typeface="Tahoma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482" y="9428164"/>
            <a:ext cx="2946575" cy="496887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r">
              <a:defRPr sz="1200" smtClean="0">
                <a:latin typeface="Tahoma" charset="0"/>
              </a:defRPr>
            </a:lvl1pPr>
          </a:lstStyle>
          <a:p>
            <a:pPr>
              <a:defRPr/>
            </a:pPr>
            <a:fld id="{6558651D-E2CB-4FA9-A426-5A0C624F0B62}" type="slidenum">
              <a:rPr lang="en-GB"/>
              <a:pPr>
                <a:defRPr/>
              </a:pPr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01383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576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3" tIns="45702" rIns="91403" bIns="45702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200" i="0">
                <a:latin typeface="Times New Roman" pitchFamily="18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099" y="0"/>
            <a:ext cx="2946576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3" tIns="45702" rIns="91403" bIns="45702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i="0">
                <a:latin typeface="Times New Roman" pitchFamily="18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1" y="4716464"/>
            <a:ext cx="4985393" cy="446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3" tIns="45702" rIns="91403" bIns="4570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576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3" tIns="45702" rIns="91403" bIns="45702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200" i="0">
                <a:latin typeface="Times New Roman" pitchFamily="18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63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099" y="9429750"/>
            <a:ext cx="2946576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3" tIns="45702" rIns="91403" bIns="45702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 i="0">
                <a:latin typeface="Times New Roman" pitchFamily="18" charset="0"/>
              </a:defRPr>
            </a:lvl1pPr>
          </a:lstStyle>
          <a:p>
            <a:pPr>
              <a:defRPr/>
            </a:pPr>
            <a:fld id="{07E99D45-E42C-41CD-8C28-4D8F2EFCEEC3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4047633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7E99D45-E42C-41CD-8C28-4D8F2EFCEEC3}" type="slidenum">
              <a:rPr lang="it-IT" smtClean="0"/>
              <a:pPr>
                <a:defRPr/>
              </a:pPr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31964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7E99D45-E42C-41CD-8C28-4D8F2EFCEEC3}" type="slidenum">
              <a:rPr lang="it-IT" smtClean="0"/>
              <a:pPr>
                <a:defRPr/>
              </a:pPr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655822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7E99D45-E42C-41CD-8C28-4D8F2EFCEEC3}" type="slidenum">
              <a:rPr lang="it-IT" smtClean="0"/>
              <a:pPr>
                <a:defRPr/>
              </a:pPr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542973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7E99D45-E42C-41CD-8C28-4D8F2EFCEEC3}" type="slidenum">
              <a:rPr lang="it-IT" smtClean="0"/>
              <a:pPr>
                <a:defRPr/>
              </a:pPr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22924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7E99D45-E42C-41CD-8C28-4D8F2EFCEEC3}" type="slidenum">
              <a:rPr lang="it-IT" smtClean="0"/>
              <a:pPr>
                <a:defRPr/>
              </a:pPr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843032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7E99D45-E42C-41CD-8C28-4D8F2EFCEEC3}" type="slidenum">
              <a:rPr lang="it-IT" smtClean="0"/>
              <a:pPr>
                <a:defRPr/>
              </a:pPr>
              <a:t>1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664309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7E99D45-E42C-41CD-8C28-4D8F2EFCEEC3}" type="slidenum">
              <a:rPr lang="it-IT" smtClean="0"/>
              <a:pPr>
                <a:defRPr/>
              </a:pPr>
              <a:t>1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473118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7E99D45-E42C-41CD-8C28-4D8F2EFCEEC3}" type="slidenum">
              <a:rPr lang="it-IT" smtClean="0"/>
              <a:pPr>
                <a:defRPr/>
              </a:pPr>
              <a:t>2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776647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it-IT" sz="900" b="0" kern="1200" cap="all" spc="150" baseline="0">
              <a:solidFill>
                <a:schemeClr val="bg1"/>
              </a:solidFill>
              <a:latin typeface="Univers Light" panose="020B0403020202020204" pitchFamily="34" charset="0"/>
              <a:ea typeface="+mn-ea"/>
              <a:cs typeface="+mn-cs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C37D7554-D10C-4E29-B8E6-BB7111FA614F}" type="slidenum">
              <a:rPr lang="it-IT" smtClean="0"/>
              <a:t>2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146689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9376" y="5373216"/>
            <a:ext cx="11233199" cy="432048"/>
          </a:xfrm>
        </p:spPr>
        <p:txBody>
          <a:bodyPr anchor="b">
            <a:normAutofit/>
          </a:bodyPr>
          <a:lstStyle>
            <a:lvl1pPr marL="0" indent="0" algn="r">
              <a:buNone/>
              <a:defRPr lang="it-IT" sz="2000" b="1" dirty="0" smtClean="0">
                <a:solidFill>
                  <a:srgbClr val="0028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Verdana" panose="020B0604030504040204" pitchFamily="34" charset="0"/>
              </a:defRPr>
            </a:lvl1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  <p:sp>
        <p:nvSpPr>
          <p:cNvPr id="9" name="Segnaposto testo 11"/>
          <p:cNvSpPr>
            <a:spLocks noGrp="1"/>
          </p:cNvSpPr>
          <p:nvPr>
            <p:ph type="body" sz="quarter" idx="11"/>
          </p:nvPr>
        </p:nvSpPr>
        <p:spPr>
          <a:xfrm>
            <a:off x="479376" y="4437112"/>
            <a:ext cx="11233199" cy="720080"/>
          </a:xfrm>
        </p:spPr>
        <p:txBody>
          <a:bodyPr/>
          <a:lstStyle>
            <a:lvl1pPr marL="19050" indent="0" algn="r">
              <a:buNone/>
              <a:defRPr kumimoji="0" lang="it-IT" sz="3000" b="0" i="0" u="none" strike="noStrike" kern="0" cap="none" spc="0" normalizeH="0" baseline="0" noProof="0" dirty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Verdana" panose="020B0604030504040204" pitchFamily="34" charset="0"/>
              </a:defRPr>
            </a:lvl1pPr>
          </a:lstStyle>
          <a:p>
            <a:pPr marL="190500" lvl="0" indent="-171450" algn="r" rtl="0" eaLnBrk="1" fontAlgn="base" hangingPunct="1">
              <a:spcBef>
                <a:spcPts val="0"/>
              </a:spcBef>
              <a:spcAft>
                <a:spcPct val="0"/>
              </a:spcAft>
              <a:buSzPct val="100000"/>
              <a:buFont typeface="Verdana" panose="020B0604030504040204" pitchFamily="34" charset="0"/>
              <a:buNone/>
            </a:pPr>
            <a:r>
              <a:rPr lang="it-IT"/>
              <a:t>Modifica gli stili del testo dello schema</a:t>
            </a:r>
          </a:p>
        </p:txBody>
      </p:sp>
      <p:sp>
        <p:nvSpPr>
          <p:cNvPr id="10" name="Segnaposto testo 13"/>
          <p:cNvSpPr>
            <a:spLocks noGrp="1"/>
          </p:cNvSpPr>
          <p:nvPr>
            <p:ph type="body" sz="quarter" idx="12"/>
          </p:nvPr>
        </p:nvSpPr>
        <p:spPr>
          <a:xfrm>
            <a:off x="479376" y="5877272"/>
            <a:ext cx="11233199" cy="432048"/>
          </a:xfrm>
        </p:spPr>
        <p:txBody>
          <a:bodyPr/>
          <a:lstStyle>
            <a:lvl1pPr algn="r">
              <a:buNone/>
              <a:defRPr lang="it-IT" sz="2000" dirty="0" smtClean="0">
                <a:solidFill>
                  <a:srgbClr val="002855"/>
                </a:solidFill>
                <a:latin typeface="Arial"/>
                <a:ea typeface="+mn-ea"/>
                <a:cs typeface="Arial"/>
                <a:sym typeface="Verdana" pitchFamily="34" charset="0"/>
              </a:defRPr>
            </a:lvl1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9376" y="3346880"/>
            <a:ext cx="11233199" cy="1018223"/>
          </a:xfrm>
        </p:spPr>
        <p:txBody>
          <a:bodyPr anchor="b">
            <a:noAutofit/>
          </a:bodyPr>
          <a:lstStyle>
            <a:lvl1pPr algn="r">
              <a:defRPr lang="en-US" sz="3200" b="1" cap="all" baseline="0" dirty="0">
                <a:solidFill>
                  <a:srgbClr val="002855"/>
                </a:solidFill>
                <a:latin typeface="Arial"/>
                <a:ea typeface="+mj-ea"/>
                <a:cs typeface="Arial"/>
                <a:sym typeface="Verdana Bold" panose="020B0804030504040204" pitchFamily="34" charset="0"/>
              </a:defRPr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pic>
        <p:nvPicPr>
          <p:cNvPr id="5" name="Immagine 4" descr="emmap_onda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823"/>
          <a:stretch/>
        </p:blipFill>
        <p:spPr>
          <a:xfrm>
            <a:off x="0" y="1184660"/>
            <a:ext cx="12192000" cy="1101339"/>
          </a:xfrm>
          <a:prstGeom prst="rect">
            <a:avLst/>
          </a:prstGeom>
        </p:spPr>
      </p:pic>
      <p:pic>
        <p:nvPicPr>
          <p:cNvPr id="6" name="Immagine 5" descr="SDA_logo_Pant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0968" y="476672"/>
            <a:ext cx="2717676" cy="576064"/>
          </a:xfrm>
          <a:prstGeom prst="rect">
            <a:avLst/>
          </a:prstGeom>
        </p:spPr>
      </p:pic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79425" y="1340767"/>
            <a:ext cx="11113523" cy="4986845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53954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9424" y="1340768"/>
            <a:ext cx="5486400" cy="4977072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096000" y="1332248"/>
            <a:ext cx="5486400" cy="4977072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883044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9425" y="2060847"/>
            <a:ext cx="5486400" cy="424800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096000" y="2060847"/>
            <a:ext cx="5486400" cy="424800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79425" y="1313792"/>
            <a:ext cx="5486400" cy="747055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096000" y="1310345"/>
            <a:ext cx="5486400" cy="747055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r>
              <a:rPr lang="it-IT"/>
              <a:t>Modifica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52481681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31279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9376" y="5373216"/>
            <a:ext cx="11233199" cy="432048"/>
          </a:xfrm>
        </p:spPr>
        <p:txBody>
          <a:bodyPr anchor="b">
            <a:normAutofit/>
          </a:bodyPr>
          <a:lstStyle>
            <a:lvl1pPr marL="0" indent="0" algn="r">
              <a:buNone/>
              <a:defRPr lang="it-IT" sz="2000" b="1" dirty="0" smtClean="0">
                <a:solidFill>
                  <a:srgbClr val="0028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Verdana" panose="020B0604030504040204" pitchFamily="34" charset="0"/>
              </a:defRPr>
            </a:lvl1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  <p:sp>
        <p:nvSpPr>
          <p:cNvPr id="9" name="Segnaposto testo 11"/>
          <p:cNvSpPr>
            <a:spLocks noGrp="1"/>
          </p:cNvSpPr>
          <p:nvPr>
            <p:ph type="body" sz="quarter" idx="11"/>
          </p:nvPr>
        </p:nvSpPr>
        <p:spPr>
          <a:xfrm>
            <a:off x="479376" y="4437112"/>
            <a:ext cx="11233199" cy="720080"/>
          </a:xfrm>
        </p:spPr>
        <p:txBody>
          <a:bodyPr/>
          <a:lstStyle>
            <a:lvl1pPr marL="19050" indent="0" algn="r">
              <a:buNone/>
              <a:defRPr kumimoji="0" lang="it-IT" sz="3000" b="0" i="0" u="none" strike="noStrike" kern="0" cap="none" spc="0" normalizeH="0" baseline="0" noProof="0" dirty="0">
                <a:ln>
                  <a:noFill/>
                </a:ln>
                <a:solidFill>
                  <a:srgbClr val="002855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Verdana" panose="020B0604030504040204" pitchFamily="34" charset="0"/>
              </a:defRPr>
            </a:lvl1pPr>
          </a:lstStyle>
          <a:p>
            <a:pPr marL="190500" lvl="0" indent="-171450" algn="r" rtl="0" eaLnBrk="1" fontAlgn="base" hangingPunct="1">
              <a:spcBef>
                <a:spcPts val="0"/>
              </a:spcBef>
              <a:spcAft>
                <a:spcPct val="0"/>
              </a:spcAft>
              <a:buSzPct val="100000"/>
              <a:buFont typeface="Verdana" panose="020B0604030504040204" pitchFamily="34" charset="0"/>
              <a:buNone/>
            </a:pPr>
            <a:r>
              <a:rPr lang="it-IT"/>
              <a:t>Modifica gli stili del testo dello schema</a:t>
            </a:r>
          </a:p>
        </p:txBody>
      </p:sp>
      <p:sp>
        <p:nvSpPr>
          <p:cNvPr id="10" name="Segnaposto testo 13"/>
          <p:cNvSpPr>
            <a:spLocks noGrp="1"/>
          </p:cNvSpPr>
          <p:nvPr>
            <p:ph type="body" sz="quarter" idx="12"/>
          </p:nvPr>
        </p:nvSpPr>
        <p:spPr>
          <a:xfrm>
            <a:off x="479376" y="5877272"/>
            <a:ext cx="11233199" cy="432048"/>
          </a:xfrm>
        </p:spPr>
        <p:txBody>
          <a:bodyPr/>
          <a:lstStyle>
            <a:lvl1pPr algn="r">
              <a:buNone/>
              <a:defRPr lang="it-IT" sz="2000" dirty="0" smtClean="0">
                <a:solidFill>
                  <a:srgbClr val="002855"/>
                </a:solidFill>
                <a:latin typeface="Arial"/>
                <a:ea typeface="+mn-ea"/>
                <a:cs typeface="Arial"/>
                <a:sym typeface="Verdana" pitchFamily="34" charset="0"/>
              </a:defRPr>
            </a:lvl1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9376" y="3346880"/>
            <a:ext cx="11233199" cy="1018223"/>
          </a:xfrm>
        </p:spPr>
        <p:txBody>
          <a:bodyPr anchor="b">
            <a:noAutofit/>
          </a:bodyPr>
          <a:lstStyle>
            <a:lvl1pPr algn="r">
              <a:defRPr lang="en-US" sz="3200" b="1" dirty="0">
                <a:solidFill>
                  <a:srgbClr val="002855"/>
                </a:solidFill>
                <a:latin typeface="Arial"/>
                <a:ea typeface="+mj-ea"/>
                <a:cs typeface="Arial"/>
                <a:sym typeface="Verdana Bold" panose="020B0804030504040204" pitchFamily="34" charset="0"/>
              </a:defRPr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pic>
        <p:nvPicPr>
          <p:cNvPr id="11" name="Immagine 10" descr="emmap_onda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823"/>
          <a:stretch/>
        </p:blipFill>
        <p:spPr>
          <a:xfrm>
            <a:off x="0" y="1184660"/>
            <a:ext cx="12192000" cy="1101339"/>
          </a:xfrm>
          <a:prstGeom prst="rect">
            <a:avLst/>
          </a:prstGeom>
        </p:spPr>
      </p:pic>
      <p:pic>
        <p:nvPicPr>
          <p:cNvPr id="12" name="Immagine 11" descr="SDA_logo_Pant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0968" y="476672"/>
            <a:ext cx="2717676" cy="576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710278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ffer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immagine 10">
            <a:extLst>
              <a:ext uri="{FF2B5EF4-FFF2-40B4-BE49-F238E27FC236}">
                <a16:creationId xmlns:a16="http://schemas.microsoft.com/office/drawing/2014/main" id="{840FD269-E069-45DA-B668-BE984BFA328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/>
          <a:lstStyle>
            <a:lvl1pPr marL="0" indent="0" algn="ctr">
              <a:buNone/>
              <a:defRPr/>
            </a:lvl1pPr>
          </a:lstStyle>
          <a:p>
            <a:pPr rtl="0"/>
            <a:r>
              <a:rPr lang="it-IT" noProof="0"/>
              <a:t>Fare clic per aggiungere una foto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9AB9DE71-7B7A-4473-ABD8-99575CAFB3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rtl="0"/>
            <a:r>
              <a:rPr lang="it-IT" noProof="0"/>
              <a:t>05/08/20XX</a:t>
            </a:r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DAAA1C9B-284B-4C89-8743-52285AC951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rtl="0"/>
            <a:r>
              <a:rPr lang="it-IT" noProof="0"/>
              <a:t>Presentazione per conferenza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8BC1FE06-5B3A-40E2-82AA-E4516ED2D5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rtl="0"/>
            <a:fld id="{18D65601-5AE2-46FC-B138-694DDD2B510D}" type="slidenum">
              <a:rPr lang="it-IT" noProof="0" smtClean="0"/>
              <a:pPr rtl="0"/>
              <a:t>‹N›</a:t>
            </a:fld>
            <a:endParaRPr lang="it-IT" noProof="0"/>
          </a:p>
        </p:txBody>
      </p:sp>
      <p:sp>
        <p:nvSpPr>
          <p:cNvPr id="7" name="Segnaposto testo 12">
            <a:extLst>
              <a:ext uri="{FF2B5EF4-FFF2-40B4-BE49-F238E27FC236}">
                <a16:creationId xmlns:a16="http://schemas.microsoft.com/office/drawing/2014/main" id="{2ACE5847-B709-473D-A366-54ADA852FF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05107" y="3055535"/>
            <a:ext cx="7981786" cy="2609103"/>
          </a:xfrm>
          <a:prstGeom prst="rect">
            <a:avLst/>
          </a:prstGeom>
        </p:spPr>
        <p:txBody>
          <a:bodyPr rtlCol="0" anchor="ctr"/>
          <a:lstStyle>
            <a:lvl1pPr marL="0" indent="0" algn="l">
              <a:lnSpc>
                <a:spcPct val="125000"/>
              </a:lnSpc>
              <a:spcBef>
                <a:spcPts val="0"/>
              </a:spcBef>
              <a:buNone/>
              <a:defRPr sz="3200" i="1" spc="1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-IT" noProof="0"/>
              <a:t>Fare clic per inserire il titolo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648B1850-15F7-414E-B8F6-3A5B3D10B2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0083" y="5448575"/>
            <a:ext cx="4881563" cy="463550"/>
          </a:xfrm>
          <a:prstGeom prst="rect">
            <a:avLst/>
          </a:prstGeom>
        </p:spPr>
        <p:txBody>
          <a:bodyPr rtlCol="0"/>
          <a:lstStyle>
            <a:lvl1pPr algn="r">
              <a:defRPr lang="en-US" sz="1800" spc="1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r" rtl="0">
              <a:spcBef>
                <a:spcPts val="1000"/>
              </a:spcBef>
              <a:buFont typeface="Arial" panose="020B0604020202020204" pitchFamily="34" charset="0"/>
            </a:pPr>
            <a:r>
              <a:rPr lang="it-IT" noProof="0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467006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1047715" y="274638"/>
            <a:ext cx="10858575" cy="939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lvl="0"/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1047751" y="1285860"/>
            <a:ext cx="10858500" cy="507207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79425" y="152400"/>
            <a:ext cx="8856936" cy="1062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9425" y="1340768"/>
            <a:ext cx="11113522" cy="4968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Immagine 1" descr="logo INTERNO.jpg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315" t="21637" r="-2516" b="-2667"/>
          <a:stretch/>
        </p:blipFill>
        <p:spPr bwMode="auto">
          <a:xfrm>
            <a:off x="9477675" y="0"/>
            <a:ext cx="2717800" cy="86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object 26"/>
          <p:cNvSpPr txBox="1"/>
          <p:nvPr userDrawn="1"/>
        </p:nvSpPr>
        <p:spPr>
          <a:xfrm>
            <a:off x="11813302" y="370714"/>
            <a:ext cx="378698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lang="it-IT" sz="1200" i="0" smtClean="0">
                <a:solidFill>
                  <a:srgbClr val="0028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it-IT" sz="1200" i="0" dirty="0">
              <a:solidFill>
                <a:srgbClr val="0028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/>
            <a:endParaRPr sz="1200" i="0" dirty="0">
              <a:latin typeface="Arial"/>
              <a:cs typeface="Arial"/>
            </a:endParaRPr>
          </a:p>
        </p:txBody>
      </p:sp>
      <p:sp>
        <p:nvSpPr>
          <p:cNvPr id="11" name="object 27"/>
          <p:cNvSpPr/>
          <p:nvPr userDrawn="1"/>
        </p:nvSpPr>
        <p:spPr>
          <a:xfrm>
            <a:off x="11592947" y="0"/>
            <a:ext cx="65653" cy="657225"/>
          </a:xfrm>
          <a:custGeom>
            <a:avLst/>
            <a:gdLst/>
            <a:ahLst/>
            <a:cxnLst/>
            <a:rect l="l" t="t" r="r" b="b"/>
            <a:pathLst>
              <a:path h="432434">
                <a:moveTo>
                  <a:pt x="0" y="0"/>
                </a:moveTo>
                <a:lnTo>
                  <a:pt x="0" y="432000"/>
                </a:lnTo>
              </a:path>
            </a:pathLst>
          </a:custGeom>
          <a:ln w="12700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3" r:id="rId7"/>
  </p:sldLayoutIdLst>
  <p:transition/>
  <p:hf hdr="0" ftr="0" dt="0"/>
  <p:txStyles>
    <p:titleStyle>
      <a:lvl1pPr algn="l" defTabSz="958850" rtl="0" eaLnBrk="1" fontAlgn="base" hangingPunct="1">
        <a:spcBef>
          <a:spcPct val="0"/>
        </a:spcBef>
        <a:spcAft>
          <a:spcPct val="0"/>
        </a:spcAft>
        <a:defRPr lang="en-US" sz="2800" b="0" cap="all" baseline="0" noProof="0" dirty="0" smtClean="0">
          <a:solidFill>
            <a:srgbClr val="002855"/>
          </a:solidFill>
          <a:latin typeface="Arial"/>
          <a:ea typeface="+mj-ea"/>
          <a:cs typeface="Arial"/>
          <a:sym typeface="Verdana Bold" panose="020B0804030504040204" pitchFamily="34" charset="0"/>
        </a:defRPr>
      </a:lvl1pPr>
      <a:lvl2pPr algn="l" defTabSz="95885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Verdana" pitchFamily="34" charset="0"/>
        </a:defRPr>
      </a:lvl2pPr>
      <a:lvl3pPr algn="l" defTabSz="95885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Verdana" pitchFamily="34" charset="0"/>
        </a:defRPr>
      </a:lvl3pPr>
      <a:lvl4pPr algn="l" defTabSz="95885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Verdana" pitchFamily="34" charset="0"/>
        </a:defRPr>
      </a:lvl4pPr>
      <a:lvl5pPr algn="l" defTabSz="95885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Verdana" pitchFamily="34" charset="0"/>
        </a:defRPr>
      </a:lvl5pPr>
      <a:lvl6pPr marL="457200" algn="ctr" defTabSz="958850" rtl="0" eaLnBrk="1" fontAlgn="base" hangingPunct="1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" pitchFamily="18" charset="0"/>
        </a:defRPr>
      </a:lvl6pPr>
      <a:lvl7pPr marL="914400" algn="ctr" defTabSz="958850" rtl="0" eaLnBrk="1" fontAlgn="base" hangingPunct="1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" pitchFamily="18" charset="0"/>
        </a:defRPr>
      </a:lvl7pPr>
      <a:lvl8pPr marL="1371600" algn="ctr" defTabSz="958850" rtl="0" eaLnBrk="1" fontAlgn="base" hangingPunct="1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" pitchFamily="18" charset="0"/>
        </a:defRPr>
      </a:lvl8pPr>
      <a:lvl9pPr marL="1828800" algn="ctr" defTabSz="958850" rtl="0" eaLnBrk="1" fontAlgn="base" hangingPunct="1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" pitchFamily="18" charset="0"/>
        </a:defRPr>
      </a:lvl9pPr>
    </p:titleStyle>
    <p:bodyStyle>
      <a:lvl1pPr marL="360363" indent="-360363" algn="l" defTabSz="95885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000">
          <a:solidFill>
            <a:srgbClr val="002855"/>
          </a:solidFill>
          <a:latin typeface="Arial" charset="0"/>
          <a:ea typeface="+mn-ea"/>
          <a:cs typeface="+mn-cs"/>
        </a:defRPr>
      </a:lvl1pPr>
      <a:lvl2pPr marL="777875" indent="-298450" algn="l" defTabSz="95885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800">
          <a:solidFill>
            <a:srgbClr val="002855"/>
          </a:solidFill>
          <a:latin typeface="Arial" charset="0"/>
        </a:defRPr>
      </a:lvl2pPr>
      <a:lvl3pPr marL="1198563" indent="-239713" algn="l" defTabSz="958850" rtl="0" eaLnBrk="1" fontAlgn="base" hangingPunct="1">
        <a:spcBef>
          <a:spcPct val="20000"/>
        </a:spcBef>
        <a:spcAft>
          <a:spcPct val="0"/>
        </a:spcAft>
        <a:buSzPct val="90000"/>
        <a:buFont typeface="Wingdings" pitchFamily="2" charset="2"/>
        <a:buChar char="§"/>
        <a:defRPr sz="1600">
          <a:solidFill>
            <a:srgbClr val="002855"/>
          </a:solidFill>
          <a:latin typeface="Arial" charset="0"/>
        </a:defRPr>
      </a:lvl3pPr>
      <a:lvl4pPr marL="1674813" indent="-238125" algn="l" defTabSz="95885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002855"/>
          </a:solidFill>
          <a:latin typeface="Arial" charset="0"/>
        </a:defRPr>
      </a:lvl4pPr>
      <a:lvl5pPr marL="2155825" indent="-241300" algn="l" defTabSz="958850" rtl="0" eaLnBrk="1" fontAlgn="base" hangingPunct="1">
        <a:spcBef>
          <a:spcPct val="20000"/>
        </a:spcBef>
        <a:spcAft>
          <a:spcPct val="0"/>
        </a:spcAft>
        <a:buSzPct val="90000"/>
        <a:buFont typeface="Wingdings" pitchFamily="2" charset="2"/>
        <a:buChar char="§"/>
        <a:defRPr sz="1600">
          <a:solidFill>
            <a:srgbClr val="002855"/>
          </a:solidFill>
          <a:latin typeface="Arial" charset="0"/>
        </a:defRPr>
      </a:lvl5pPr>
      <a:lvl6pPr marL="2613025" indent="-241300" algn="l" defTabSz="95885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070225" indent="-241300" algn="l" defTabSz="95885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27425" indent="-241300" algn="l" defTabSz="95885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3984625" indent="-241300" algn="l" defTabSz="95885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4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216" imgH="216" progId="TCLayout.ActiveDocument.1">
                  <p:embed/>
                </p:oleObj>
              </mc:Choice>
              <mc:Fallback>
                <p:oleObj name="Diapositiva think-cell" r:id="rId5" imgW="216" imgH="216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1047751" y="274638"/>
            <a:ext cx="10858500" cy="93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endParaRPr lang="it-IT" dirty="0"/>
          </a:p>
        </p:txBody>
      </p:sp>
      <p:sp>
        <p:nvSpPr>
          <p:cNvPr id="1027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47751" y="1285875"/>
            <a:ext cx="10858500" cy="5100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7" name="Rectangle 6"/>
          <p:cNvSpPr txBox="1">
            <a:spLocks noChangeArrowheads="1"/>
          </p:cNvSpPr>
          <p:nvPr userDrawn="1"/>
        </p:nvSpPr>
        <p:spPr>
          <a:xfrm>
            <a:off x="11334751" y="6597650"/>
            <a:ext cx="666749" cy="215900"/>
          </a:xfrm>
          <a:prstGeom prst="rect">
            <a:avLst/>
          </a:prstGeom>
          <a:ln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100" i="0" kern="1200">
                <a:solidFill>
                  <a:srgbClr val="003399"/>
                </a:solidFill>
                <a:latin typeface="Arial" charset="0"/>
                <a:ea typeface="ＭＳ Ｐゴシック" pitchFamily="44" charset="-128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i="1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i="1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i="1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i="1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i="1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i="1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i="1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i="1" kern="1200">
                <a:solidFill>
                  <a:schemeClr val="tx1"/>
                </a:solidFill>
                <a:latin typeface="Tahom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95CC1C6-2352-463C-8004-F143375A64DE}" type="slidenum">
              <a:rPr lang="it-IT" sz="1100" smtClean="0"/>
              <a:pPr>
                <a:defRPr/>
              </a:pPr>
              <a:t>‹N›</a:t>
            </a:fld>
            <a:endParaRPr lang="it-IT" sz="1100" dirty="0"/>
          </a:p>
        </p:txBody>
      </p:sp>
      <p:cxnSp>
        <p:nvCxnSpPr>
          <p:cNvPr id="8" name="Connettore 1 2"/>
          <p:cNvCxnSpPr>
            <a:cxnSpLocks noChangeShapeType="1"/>
          </p:cNvCxnSpPr>
          <p:nvPr userDrawn="1"/>
        </p:nvCxnSpPr>
        <p:spPr bwMode="auto">
          <a:xfrm>
            <a:off x="0" y="6524625"/>
            <a:ext cx="12192000" cy="0"/>
          </a:xfrm>
          <a:prstGeom prst="line">
            <a:avLst/>
          </a:prstGeom>
          <a:noFill/>
          <a:ln w="9525" algn="ctr">
            <a:solidFill>
              <a:schemeClr val="accent3">
                <a:lumMod val="7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Rectangle 6"/>
          <p:cNvSpPr txBox="1">
            <a:spLocks noChangeArrowheads="1"/>
          </p:cNvSpPr>
          <p:nvPr userDrawn="1"/>
        </p:nvSpPr>
        <p:spPr>
          <a:xfrm>
            <a:off x="156633" y="6580188"/>
            <a:ext cx="8627665" cy="215900"/>
          </a:xfrm>
          <a:prstGeom prst="rect">
            <a:avLst/>
          </a:prstGeom>
          <a:ln/>
        </p:spPr>
        <p:txBody>
          <a:bodyPr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100" i="0" kern="1200">
                <a:solidFill>
                  <a:srgbClr val="003399"/>
                </a:solidFill>
                <a:latin typeface="Arial" charset="0"/>
                <a:ea typeface="ＭＳ Ｐゴシック" pitchFamily="44" charset="-128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i="1" kern="12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i="1" kern="12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i="1" kern="12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i="1" kern="12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000" i="1" kern="12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000" i="1" kern="12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000" i="1" kern="12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000" i="1" kern="12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l"/>
            <a:r>
              <a:rPr lang="it-IT" sz="1100" dirty="0">
                <a:solidFill>
                  <a:srgbClr val="808080"/>
                </a:solidFill>
              </a:rPr>
              <a:t>SDA Bocconi </a:t>
            </a:r>
            <a:r>
              <a:rPr lang="it-IT" sz="1100" dirty="0">
                <a:solidFill>
                  <a:srgbClr val="00347A"/>
                </a:solidFill>
              </a:rPr>
              <a:t> </a:t>
            </a:r>
            <a:r>
              <a:rPr lang="it-IT" sz="1100" dirty="0">
                <a:solidFill>
                  <a:schemeClr val="accent3">
                    <a:lumMod val="75000"/>
                  </a:schemeClr>
                </a:solidFill>
              </a:rPr>
              <a:t>I</a:t>
            </a:r>
            <a:r>
              <a:rPr lang="it-IT" sz="1100" dirty="0">
                <a:solidFill>
                  <a:srgbClr val="00347A"/>
                </a:solidFill>
              </a:rPr>
              <a:t>  </a:t>
            </a:r>
            <a:r>
              <a:rPr lang="it-IT" sz="1100" i="0" kern="1200" dirty="0" err="1">
                <a:solidFill>
                  <a:srgbClr val="808080"/>
                </a:solidFill>
                <a:latin typeface="Arial" charset="0"/>
                <a:ea typeface="ＭＳ Ｐゴシック" pitchFamily="44" charset="-128"/>
                <a:cs typeface="Arial" charset="0"/>
              </a:rPr>
              <a:t>Government</a:t>
            </a:r>
            <a:r>
              <a:rPr lang="it-IT" sz="1100" i="0" kern="1200" dirty="0">
                <a:solidFill>
                  <a:srgbClr val="808080"/>
                </a:solidFill>
                <a:latin typeface="Arial" charset="0"/>
                <a:ea typeface="ＭＳ Ｐゴシック" pitchFamily="44" charset="-128"/>
                <a:cs typeface="Arial" charset="0"/>
              </a:rPr>
              <a:t>, </a:t>
            </a:r>
            <a:r>
              <a:rPr lang="it-IT" sz="1100" i="0" kern="1200" dirty="0" err="1">
                <a:solidFill>
                  <a:srgbClr val="808080"/>
                </a:solidFill>
                <a:latin typeface="Arial" charset="0"/>
                <a:ea typeface="ＭＳ Ｐゴシック" pitchFamily="44" charset="-128"/>
                <a:cs typeface="Arial" charset="0"/>
              </a:rPr>
              <a:t>Health</a:t>
            </a:r>
            <a:r>
              <a:rPr lang="it-IT" sz="1100" i="0" kern="1200" dirty="0">
                <a:solidFill>
                  <a:srgbClr val="808080"/>
                </a:solidFill>
                <a:latin typeface="Arial" charset="0"/>
                <a:ea typeface="ＭＳ Ｐゴシック" pitchFamily="44" charset="-128"/>
                <a:cs typeface="Arial" charset="0"/>
              </a:rPr>
              <a:t> and </a:t>
            </a:r>
            <a:r>
              <a:rPr lang="it-IT" sz="1100" i="0" kern="1200" dirty="0" err="1">
                <a:solidFill>
                  <a:srgbClr val="808080"/>
                </a:solidFill>
                <a:latin typeface="Arial" charset="0"/>
                <a:ea typeface="ＭＳ Ｐゴシック" pitchFamily="44" charset="-128"/>
                <a:cs typeface="Arial" charset="0"/>
              </a:rPr>
              <a:t>Not</a:t>
            </a:r>
            <a:r>
              <a:rPr lang="it-IT" sz="1100" i="0" kern="1200" dirty="0">
                <a:solidFill>
                  <a:srgbClr val="808080"/>
                </a:solidFill>
                <a:latin typeface="Arial" charset="0"/>
                <a:ea typeface="ＭＳ Ｐゴシック" pitchFamily="44" charset="-128"/>
                <a:cs typeface="Arial" charset="0"/>
              </a:rPr>
              <a:t> for Profit </a:t>
            </a:r>
            <a:r>
              <a:rPr lang="it-IT" sz="1100" i="0" kern="1200" dirty="0" err="1">
                <a:solidFill>
                  <a:srgbClr val="808080"/>
                </a:solidFill>
                <a:latin typeface="Arial" charset="0"/>
                <a:ea typeface="ＭＳ Ｐゴシック" pitchFamily="44" charset="-128"/>
                <a:cs typeface="Arial" charset="0"/>
              </a:rPr>
              <a:t>Division</a:t>
            </a:r>
            <a:endParaRPr lang="it-IT" sz="1100" i="0" kern="1200" dirty="0">
              <a:solidFill>
                <a:srgbClr val="808080"/>
              </a:solidFill>
              <a:latin typeface="Arial" charset="0"/>
              <a:ea typeface="ＭＳ Ｐゴシック" pitchFamily="44" charset="-128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</p:sldLayoutIdLst>
  <p:transition/>
  <p:hf hdr="0" dt="0"/>
  <p:txStyles>
    <p:titleStyle>
      <a:lvl1pPr algn="l" defTabSz="95885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Verdana" pitchFamily="34" charset="0"/>
          <a:ea typeface="+mj-ea"/>
          <a:cs typeface="+mj-cs"/>
        </a:defRPr>
      </a:lvl1pPr>
      <a:lvl2pPr algn="l" defTabSz="95885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Verdana" pitchFamily="34" charset="0"/>
        </a:defRPr>
      </a:lvl2pPr>
      <a:lvl3pPr algn="l" defTabSz="95885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Verdana" pitchFamily="34" charset="0"/>
        </a:defRPr>
      </a:lvl3pPr>
      <a:lvl4pPr algn="l" defTabSz="95885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Verdana" pitchFamily="34" charset="0"/>
        </a:defRPr>
      </a:lvl4pPr>
      <a:lvl5pPr algn="l" defTabSz="95885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99"/>
          </a:solidFill>
          <a:latin typeface="Verdana" pitchFamily="34" charset="0"/>
        </a:defRPr>
      </a:lvl5pPr>
      <a:lvl6pPr marL="457200" algn="ctr" defTabSz="958850" rtl="0" eaLnBrk="1" fontAlgn="base" hangingPunct="1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" pitchFamily="18" charset="0"/>
        </a:defRPr>
      </a:lvl6pPr>
      <a:lvl7pPr marL="914400" algn="ctr" defTabSz="958850" rtl="0" eaLnBrk="1" fontAlgn="base" hangingPunct="1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" pitchFamily="18" charset="0"/>
        </a:defRPr>
      </a:lvl7pPr>
      <a:lvl8pPr marL="1371600" algn="ctr" defTabSz="958850" rtl="0" eaLnBrk="1" fontAlgn="base" hangingPunct="1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" pitchFamily="18" charset="0"/>
        </a:defRPr>
      </a:lvl8pPr>
      <a:lvl9pPr marL="1828800" algn="ctr" defTabSz="958850" rtl="0" eaLnBrk="1" fontAlgn="base" hangingPunct="1">
        <a:spcBef>
          <a:spcPct val="0"/>
        </a:spcBef>
        <a:spcAft>
          <a:spcPct val="0"/>
        </a:spcAft>
        <a:defRPr sz="4700">
          <a:solidFill>
            <a:schemeClr val="tx2"/>
          </a:solidFill>
          <a:latin typeface="Times" pitchFamily="18" charset="0"/>
        </a:defRPr>
      </a:lvl9pPr>
    </p:titleStyle>
    <p:bodyStyle>
      <a:lvl1pPr marL="360363" indent="-360363" algn="l" defTabSz="95885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>
          <a:solidFill>
            <a:srgbClr val="003399"/>
          </a:solidFill>
          <a:latin typeface="Arial" charset="0"/>
          <a:ea typeface="+mn-ea"/>
          <a:cs typeface="+mn-cs"/>
        </a:defRPr>
      </a:lvl1pPr>
      <a:lvl2pPr marL="777875" indent="-298450" algn="l" defTabSz="95885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rgbClr val="003399"/>
          </a:solidFill>
          <a:latin typeface="Arial" charset="0"/>
        </a:defRPr>
      </a:lvl2pPr>
      <a:lvl3pPr marL="1198563" indent="-239713" algn="l" defTabSz="958850" rtl="0" eaLnBrk="1" fontAlgn="base" hangingPunct="1">
        <a:spcBef>
          <a:spcPct val="20000"/>
        </a:spcBef>
        <a:spcAft>
          <a:spcPct val="0"/>
        </a:spcAft>
        <a:buSzPct val="90000"/>
        <a:buFont typeface="Wingdings" pitchFamily="2" charset="2"/>
        <a:buChar char="§"/>
        <a:defRPr sz="1400">
          <a:solidFill>
            <a:srgbClr val="003399"/>
          </a:solidFill>
          <a:latin typeface="Arial" charset="0"/>
        </a:defRPr>
      </a:lvl3pPr>
      <a:lvl4pPr marL="1674813" indent="-238125" algn="l" defTabSz="95885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>
          <a:solidFill>
            <a:srgbClr val="003399"/>
          </a:solidFill>
          <a:latin typeface="Arial" charset="0"/>
        </a:defRPr>
      </a:lvl4pPr>
      <a:lvl5pPr marL="2155825" indent="-241300" algn="l" defTabSz="958850" rtl="0" eaLnBrk="1" fontAlgn="base" hangingPunct="1">
        <a:spcBef>
          <a:spcPct val="20000"/>
        </a:spcBef>
        <a:spcAft>
          <a:spcPct val="0"/>
        </a:spcAft>
        <a:buSzPct val="90000"/>
        <a:buFont typeface="Wingdings" pitchFamily="2" charset="2"/>
        <a:buChar char="§"/>
        <a:defRPr sz="1400">
          <a:solidFill>
            <a:srgbClr val="003399"/>
          </a:solidFill>
          <a:latin typeface="Arial" charset="0"/>
        </a:defRPr>
      </a:lvl5pPr>
      <a:lvl6pPr marL="2613025" indent="-241300" algn="l" defTabSz="95885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070225" indent="-241300" algn="l" defTabSz="95885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27425" indent="-241300" algn="l" defTabSz="95885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3984625" indent="-241300" algn="l" defTabSz="95885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stackoverflow.com/questions/43541376/how-to-draw-communities-with-networkx" TargetMode="External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image" Target="../media/image33.png"/><Relationship Id="rId7" Type="http://schemas.openxmlformats.org/officeDocument/2006/relationships/diagramData" Target="../diagrams/data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svg"/><Relationship Id="rId11" Type="http://schemas.microsoft.com/office/2007/relationships/diagramDrawing" Target="../diagrams/drawing5.xml"/><Relationship Id="rId5" Type="http://schemas.openxmlformats.org/officeDocument/2006/relationships/image" Target="../media/image35.png"/><Relationship Id="rId10" Type="http://schemas.openxmlformats.org/officeDocument/2006/relationships/diagramColors" Target="../diagrams/colors5.xml"/><Relationship Id="rId4" Type="http://schemas.openxmlformats.org/officeDocument/2006/relationships/image" Target="../media/image34.svg"/><Relationship Id="rId9" Type="http://schemas.openxmlformats.org/officeDocument/2006/relationships/diagramQuickStyle" Target="../diagrams/quickStyle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10" Type="http://schemas.openxmlformats.org/officeDocument/2006/relationships/image" Target="../media/image39.png"/><Relationship Id="rId4" Type="http://schemas.openxmlformats.org/officeDocument/2006/relationships/diagramLayout" Target="../diagrams/layout6.xml"/><Relationship Id="rId9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freesvg.org/puzzle-house" TargetMode="External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freesvg.org/puzzle-house" TargetMode="External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10.sv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14.svg"/><Relationship Id="rId10" Type="http://schemas.openxmlformats.org/officeDocument/2006/relationships/image" Target="../media/image9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8.svg"/><Relationship Id="rId1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5" Type="http://schemas.openxmlformats.org/officeDocument/2006/relationships/image" Target="../media/image44.jpg"/><Relationship Id="rId4" Type="http://schemas.openxmlformats.org/officeDocument/2006/relationships/image" Target="../media/image43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ubtitle 27"/>
          <p:cNvSpPr>
            <a:spLocks noGrp="1"/>
          </p:cNvSpPr>
          <p:nvPr>
            <p:ph type="subTitle" idx="1"/>
          </p:nvPr>
        </p:nvSpPr>
        <p:spPr>
          <a:xfrm>
            <a:off x="479376" y="4968607"/>
            <a:ext cx="11233199" cy="1365073"/>
          </a:xfrm>
        </p:spPr>
        <p:txBody>
          <a:bodyPr anchor="t">
            <a:normAutofit/>
          </a:bodyPr>
          <a:lstStyle/>
          <a:p>
            <a:pPr lvl="0" defTabSz="914400">
              <a:spcBef>
                <a:spcPct val="0"/>
              </a:spcBef>
              <a:defRPr/>
            </a:pPr>
            <a:r>
              <a:rPr lang="it-IT" sz="1800" kern="1200" cap="all" dirty="0">
                <a:solidFill>
                  <a:prstClr val="white">
                    <a:lumMod val="50000"/>
                  </a:prstClr>
                </a:solidFill>
                <a:latin typeface="Arial"/>
                <a:cs typeface="+mn-cs"/>
              </a:rPr>
              <a:t>workshop PROGETTI DI INNOVAZIONE, </a:t>
            </a:r>
            <a:r>
              <a:rPr lang="it-IT" sz="1800" b="0" kern="1200" cap="all" dirty="0">
                <a:solidFill>
                  <a:prstClr val="white">
                    <a:lumMod val="50000"/>
                  </a:prstClr>
                </a:solidFill>
                <a:latin typeface="Arial"/>
                <a:cs typeface="+mn-cs"/>
              </a:rPr>
              <a:t>29 GIUGNO – 1 LUGLIO 2022</a:t>
            </a:r>
          </a:p>
          <a:p>
            <a:pPr lvl="0" defTabSz="914400">
              <a:spcBef>
                <a:spcPct val="0"/>
              </a:spcBef>
              <a:defRPr/>
            </a:pPr>
            <a:r>
              <a:rPr lang="it-IT" b="0" kern="1200" cap="all" dirty="0">
                <a:solidFill>
                  <a:srgbClr val="003399"/>
                </a:solidFill>
                <a:latin typeface="Arial"/>
                <a:cs typeface="+mn-cs"/>
              </a:rPr>
              <a:t>Qualità dell’abitare: innovazione sociale nel mondo dell’edilizia pubblica</a:t>
            </a:r>
          </a:p>
          <a:p>
            <a:pPr defTabSz="914400">
              <a:spcBef>
                <a:spcPct val="0"/>
              </a:spcBef>
              <a:defRPr/>
            </a:pPr>
            <a:r>
              <a:rPr lang="it-IT" b="0" kern="1200" cap="all" dirty="0">
                <a:solidFill>
                  <a:srgbClr val="003399"/>
                </a:solidFill>
                <a:latin typeface="Arial"/>
                <a:cs typeface="+mn-cs"/>
              </a:rPr>
              <a:t>GRAZIA RICCA</a:t>
            </a:r>
            <a:r>
              <a:rPr lang="it-IT" b="0" kern="1200" cap="all" dirty="0">
                <a:solidFill>
                  <a:srgbClr val="003399"/>
                </a:solidFill>
                <a:latin typeface="Arial"/>
              </a:rPr>
              <a:t> </a:t>
            </a:r>
          </a:p>
          <a:p>
            <a:pPr defTabSz="914400">
              <a:spcBef>
                <a:spcPct val="0"/>
              </a:spcBef>
              <a:defRPr/>
            </a:pPr>
            <a:r>
              <a:rPr lang="it-IT" b="0" kern="1200" cap="all" dirty="0">
                <a:solidFill>
                  <a:srgbClr val="003399"/>
                </a:solidFill>
                <a:latin typeface="Arial"/>
              </a:rPr>
              <a:t>ELEONORA PEROBELLI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1"/>
          </p:nvPr>
        </p:nvSpPr>
        <p:spPr>
          <a:xfrm>
            <a:off x="479376" y="4437113"/>
            <a:ext cx="11233199" cy="576064"/>
          </a:xfrm>
        </p:spPr>
        <p:txBody>
          <a:bodyPr/>
          <a:lstStyle/>
          <a:p>
            <a:r>
              <a:rPr lang="it-IT" b="1">
                <a:solidFill>
                  <a:srgbClr val="7D8719"/>
                </a:solidFill>
              </a:rPr>
              <a:t>EMMAP</a:t>
            </a:r>
            <a:endParaRPr lang="it-IT" b="1" dirty="0">
              <a:solidFill>
                <a:srgbClr val="7D8719"/>
              </a:solidFill>
            </a:endParaRPr>
          </a:p>
        </p:txBody>
      </p:sp>
      <p:sp>
        <p:nvSpPr>
          <p:cNvPr id="27" name="Title 26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it-IT" b="0" dirty="0"/>
              <a:t>Executive Master in Management delle Amministrazioni Pubbliche</a:t>
            </a:r>
          </a:p>
        </p:txBody>
      </p:sp>
      <p:sp>
        <p:nvSpPr>
          <p:cNvPr id="3" name="CasellaDiTesto 2"/>
          <p:cNvSpPr txBox="1"/>
          <p:nvPr/>
        </p:nvSpPr>
        <p:spPr bwMode="auto">
          <a:xfrm>
            <a:off x="983432" y="6401963"/>
            <a:ext cx="4656504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r>
              <a:rPr lang="en-US" sz="1100" b="1" i="0" cap="all" dirty="0" err="1">
                <a:solidFill>
                  <a:srgbClr val="7D8719"/>
                </a:solidFill>
                <a:latin typeface="+mj-lt"/>
              </a:rPr>
              <a:t>Scegli</a:t>
            </a:r>
            <a:r>
              <a:rPr lang="en-US" sz="1100" b="1" i="0" cap="all" dirty="0">
                <a:solidFill>
                  <a:srgbClr val="7D8719"/>
                </a:solidFill>
                <a:latin typeface="+mj-lt"/>
              </a:rPr>
              <a:t> di </a:t>
            </a:r>
            <a:r>
              <a:rPr lang="en-US" sz="1100" b="1" i="0" cap="all" dirty="0" err="1">
                <a:solidFill>
                  <a:srgbClr val="7D8719"/>
                </a:solidFill>
                <a:latin typeface="+mj-lt"/>
              </a:rPr>
              <a:t>dirigere</a:t>
            </a:r>
            <a:r>
              <a:rPr lang="en-US" sz="1100" b="1" i="0" cap="all" dirty="0">
                <a:solidFill>
                  <a:srgbClr val="7D8719"/>
                </a:solidFill>
                <a:latin typeface="+mj-lt"/>
              </a:rPr>
              <a:t> </a:t>
            </a:r>
            <a:r>
              <a:rPr lang="en-US" sz="1100" b="1" i="0" cap="all" dirty="0" err="1">
                <a:solidFill>
                  <a:srgbClr val="7D8719"/>
                </a:solidFill>
                <a:latin typeface="+mj-lt"/>
              </a:rPr>
              <a:t>il</a:t>
            </a:r>
            <a:r>
              <a:rPr lang="en-US" sz="1100" b="1" i="0" cap="all" dirty="0">
                <a:solidFill>
                  <a:srgbClr val="7D8719"/>
                </a:solidFill>
                <a:latin typeface="+mj-lt"/>
              </a:rPr>
              <a:t> </a:t>
            </a:r>
            <a:r>
              <a:rPr lang="en-US" sz="1100" b="1" i="0" cap="all" dirty="0" err="1">
                <a:solidFill>
                  <a:srgbClr val="7D8719"/>
                </a:solidFill>
                <a:latin typeface="+mj-lt"/>
              </a:rPr>
              <a:t>cambiamento</a:t>
            </a:r>
            <a:r>
              <a:rPr lang="en-US" sz="1100" b="1" i="0" cap="all" dirty="0">
                <a:solidFill>
                  <a:srgbClr val="7D8719"/>
                </a:solidFill>
                <a:latin typeface="+mj-lt"/>
              </a:rPr>
              <a:t>.</a:t>
            </a:r>
          </a:p>
        </p:txBody>
      </p:sp>
      <p:pic>
        <p:nvPicPr>
          <p:cNvPr id="2" name="Immagine 1" descr="emmap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808" y="5805264"/>
            <a:ext cx="801624" cy="92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784190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1">
            <a:extLst>
              <a:ext uri="{FF2B5EF4-FFF2-40B4-BE49-F238E27FC236}">
                <a16:creationId xmlns:a16="http://schemas.microsoft.com/office/drawing/2014/main" id="{28ACF6CF-3B98-2B30-19A1-767B6FAF78DB}"/>
              </a:ext>
            </a:extLst>
          </p:cNvPr>
          <p:cNvSpPr txBox="1">
            <a:spLocks/>
          </p:cNvSpPr>
          <p:nvPr/>
        </p:nvSpPr>
        <p:spPr bwMode="auto">
          <a:xfrm>
            <a:off x="551385" y="476672"/>
            <a:ext cx="5112568" cy="1062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lang="en-US" sz="2800" b="0" cap="all" baseline="0" noProof="0">
                <a:solidFill>
                  <a:srgbClr val="002855"/>
                </a:solidFill>
                <a:latin typeface="Arial"/>
                <a:ea typeface="+mj-ea"/>
                <a:cs typeface="Arial"/>
                <a:sym typeface="Verdana Bold" panose="020B0804030504040204" pitchFamily="34" charset="0"/>
              </a:defRPr>
            </a:lvl1pPr>
            <a:lvl2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2pPr>
            <a:lvl3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3pPr>
            <a:lvl4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4pPr>
            <a:lvl5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5pPr>
            <a:lvl6pPr marL="4572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6pPr>
            <a:lvl7pPr marL="9144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7pPr>
            <a:lvl8pPr marL="13716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8pPr>
            <a:lvl9pPr marL="18288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9pPr>
          </a:lstStyle>
          <a:p>
            <a:r>
              <a:rPr lang="it-IT" i="0" kern="0" dirty="0"/>
              <a:t>Arteim.it</a:t>
            </a:r>
          </a:p>
          <a:p>
            <a:r>
              <a:rPr lang="it-IT" sz="2400" i="0" kern="0" dirty="0"/>
              <a:t>Più informazione, più servizi</a:t>
            </a:r>
            <a:endParaRPr lang="it-IT" sz="2400" i="0" kern="0" cap="none" dirty="0"/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5E68B948-C0D7-C9D9-E10E-8BFBE8B508C6}"/>
              </a:ext>
            </a:extLst>
          </p:cNvPr>
          <p:cNvSpPr txBox="1"/>
          <p:nvPr/>
        </p:nvSpPr>
        <p:spPr bwMode="auto">
          <a:xfrm>
            <a:off x="5303912" y="2348880"/>
            <a:ext cx="6336704" cy="3016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l SITO è una vetrina multimediale che informa, guida e fornisce tutte le notizie utili riguardanti i servizi, la possibilità di interagire con Arte e illustra l’attività dell’Ente. </a:t>
            </a:r>
          </a:p>
          <a:p>
            <a:pPr algn="just"/>
            <a:endParaRPr lang="it-IT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’ una finestra aperta per un interscambio continuo con gli inquilini. </a:t>
            </a:r>
          </a:p>
          <a:p>
            <a:pPr algn="just"/>
            <a:endParaRPr lang="it-IT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o sportello amico per cercare di risolvere insieme dubbi, problemi e difficoltà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it-IT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</a:t>
            </a:r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 supporto costante per restare aggiornati</a:t>
            </a:r>
            <a:r>
              <a:rPr lang="it-IT" sz="2800" dirty="0">
                <a:solidFill>
                  <a:schemeClr val="tx2"/>
                </a:solidFill>
                <a:latin typeface="+mj-lt"/>
              </a:rPr>
              <a:t> </a:t>
            </a:r>
          </a:p>
        </p:txBody>
      </p:sp>
      <p:grpSp>
        <p:nvGrpSpPr>
          <p:cNvPr id="8" name="Gruppo 7">
            <a:extLst>
              <a:ext uri="{FF2B5EF4-FFF2-40B4-BE49-F238E27FC236}">
                <a16:creationId xmlns:a16="http://schemas.microsoft.com/office/drawing/2014/main" id="{36879D5C-0A18-612E-8DB8-2C4015540F25}"/>
              </a:ext>
            </a:extLst>
          </p:cNvPr>
          <p:cNvGrpSpPr/>
          <p:nvPr/>
        </p:nvGrpSpPr>
        <p:grpSpPr>
          <a:xfrm>
            <a:off x="623392" y="1644128"/>
            <a:ext cx="4490268" cy="4030504"/>
            <a:chOff x="5735960" y="188640"/>
            <a:chExt cx="3672178" cy="3429000"/>
          </a:xfrm>
        </p:grpSpPr>
        <p:pic>
          <p:nvPicPr>
            <p:cNvPr id="3" name="Immagine 2">
              <a:extLst>
                <a:ext uri="{FF2B5EF4-FFF2-40B4-BE49-F238E27FC236}">
                  <a16:creationId xmlns:a16="http://schemas.microsoft.com/office/drawing/2014/main" id="{6D2504EA-C234-01A8-756C-8501D712440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35960" y="188640"/>
              <a:ext cx="3672178" cy="3429000"/>
            </a:xfrm>
            <a:prstGeom prst="rect">
              <a:avLst/>
            </a:prstGeom>
          </p:spPr>
        </p:pic>
        <p:pic>
          <p:nvPicPr>
            <p:cNvPr id="7" name="Immagine 6" descr="Immagine che contiene testo&#10;&#10;Descrizione generata automaticamente">
              <a:extLst>
                <a:ext uri="{FF2B5EF4-FFF2-40B4-BE49-F238E27FC236}">
                  <a16:creationId xmlns:a16="http://schemas.microsoft.com/office/drawing/2014/main" id="{B13402B7-2F60-AA62-B5C4-995A6196FE3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138" t="30556" r="14710" b="8332"/>
            <a:stretch/>
          </p:blipFill>
          <p:spPr>
            <a:xfrm>
              <a:off x="5771848" y="620688"/>
              <a:ext cx="3636289" cy="161113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81436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88341" y="216024"/>
            <a:ext cx="9144967" cy="548680"/>
          </a:xfrm>
        </p:spPr>
        <p:txBody>
          <a:bodyPr/>
          <a:lstStyle/>
          <a:p>
            <a:r>
              <a:rPr lang="it-IT" dirty="0"/>
              <a:t>L’innovazione sociale</a:t>
            </a:r>
            <a:br>
              <a:rPr lang="it-IT" dirty="0"/>
            </a:br>
            <a:br>
              <a:rPr lang="it-IT" dirty="0"/>
            </a:br>
            <a:br>
              <a:rPr lang="it-IT" dirty="0"/>
            </a:br>
            <a:endParaRPr lang="it-IT" sz="2400" cap="none" dirty="0"/>
          </a:p>
        </p:txBody>
      </p:sp>
      <p:graphicFrame>
        <p:nvGraphicFramePr>
          <p:cNvPr id="11" name="Segnaposto contenuto 5" descr="Diapositiva dell'agenda con icone e testi">
            <a:extLst>
              <a:ext uri="{FF2B5EF4-FFF2-40B4-BE49-F238E27FC236}">
                <a16:creationId xmlns:a16="http://schemas.microsoft.com/office/drawing/2014/main" id="{AB747AEB-4DE3-1E3C-9AFA-4F43FC1F4FA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5540280"/>
              </p:ext>
            </p:extLst>
          </p:nvPr>
        </p:nvGraphicFramePr>
        <p:xfrm>
          <a:off x="1056559" y="2492895"/>
          <a:ext cx="10098804" cy="34332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67705E8F-9A2B-C041-3BC3-61435518507F}"/>
              </a:ext>
            </a:extLst>
          </p:cNvPr>
          <p:cNvSpPr txBox="1"/>
          <p:nvPr/>
        </p:nvSpPr>
        <p:spPr bwMode="auto">
          <a:xfrm>
            <a:off x="479376" y="692696"/>
            <a:ext cx="10530852" cy="1612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it-IT" sz="2400" dirty="0">
                <a:solidFill>
                  <a:schemeClr val="tx2"/>
                </a:solidFill>
                <a:effectLst/>
                <a:latin typeface="+mj-lt"/>
                <a:ea typeface="Times New Roman" panose="02020603050405020304" pitchFamily="18" charset="0"/>
              </a:rPr>
              <a:t>Non si tratta più solo di offrire risposta al bisogno abitativo, ma di introdurre </a:t>
            </a:r>
            <a:r>
              <a:rPr lang="it-IT" sz="2400" b="1" dirty="0">
                <a:solidFill>
                  <a:schemeClr val="tx2"/>
                </a:solidFill>
                <a:effectLst/>
                <a:latin typeface="+mj-lt"/>
                <a:ea typeface="Times New Roman" panose="02020603050405020304" pitchFamily="18" charset="0"/>
              </a:rPr>
              <a:t>servizi complementari a quelli abitativi </a:t>
            </a:r>
            <a:r>
              <a:rPr lang="it-IT" sz="2400" dirty="0">
                <a:solidFill>
                  <a:schemeClr val="tx2"/>
                </a:solidFill>
                <a:effectLst/>
                <a:latin typeface="+mj-lt"/>
                <a:ea typeface="Times New Roman" panose="02020603050405020304" pitchFamily="18" charset="0"/>
              </a:rPr>
              <a:t>in senso stretto volti a rispondere a bisogni trasversali, quali </a:t>
            </a:r>
            <a:r>
              <a:rPr lang="it-IT" sz="2400" b="1" dirty="0">
                <a:solidFill>
                  <a:schemeClr val="tx2"/>
                </a:solidFill>
                <a:effectLst/>
                <a:latin typeface="+mj-lt"/>
                <a:ea typeface="Times New Roman" panose="02020603050405020304" pitchFamily="18" charset="0"/>
              </a:rPr>
              <a:t>la casa </a:t>
            </a:r>
            <a:r>
              <a:rPr lang="it-IT" sz="2400" dirty="0">
                <a:solidFill>
                  <a:schemeClr val="tx2"/>
                </a:solidFill>
                <a:effectLst/>
                <a:latin typeface="+mj-lt"/>
                <a:ea typeface="Times New Roman" panose="02020603050405020304" pitchFamily="18" charset="0"/>
              </a:rPr>
              <a:t>come condizione di </a:t>
            </a:r>
            <a:r>
              <a:rPr lang="it-IT" sz="2400" b="1" dirty="0">
                <a:solidFill>
                  <a:schemeClr val="tx2"/>
                </a:solidFill>
                <a:effectLst/>
                <a:latin typeface="+mj-lt"/>
                <a:ea typeface="Times New Roman" panose="02020603050405020304" pitchFamily="18" charset="0"/>
              </a:rPr>
              <a:t>inclusione sociale insieme al lavoro e all’istruzione.</a:t>
            </a:r>
            <a:endParaRPr lang="it-IT" sz="24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15630496"/>
      </p:ext>
    </p:extLst>
  </p:cSld>
  <p:clrMapOvr>
    <a:masterClrMapping/>
  </p:clrMapOvr>
  <p:transition spd="slow">
    <p:cover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33701" y="0"/>
            <a:ext cx="6930452" cy="548680"/>
          </a:xfrm>
          <a:solidFill>
            <a:schemeClr val="bg1"/>
          </a:solidFill>
        </p:spPr>
        <p:txBody>
          <a:bodyPr/>
          <a:lstStyle/>
          <a:p>
            <a:r>
              <a:rPr lang="it-IT" dirty="0"/>
              <a:t>creare un welfare aggregato</a:t>
            </a:r>
            <a:br>
              <a:rPr lang="it-IT" dirty="0"/>
            </a:br>
            <a:br>
              <a:rPr lang="it-IT" dirty="0"/>
            </a:br>
            <a:br>
              <a:rPr lang="it-IT" dirty="0"/>
            </a:br>
            <a:br>
              <a:rPr lang="it-IT" dirty="0"/>
            </a:br>
            <a:endParaRPr lang="it-IT" sz="2400" cap="none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3DABC7DF-693C-396E-5147-59D4B25AFEDB}"/>
              </a:ext>
            </a:extLst>
          </p:cNvPr>
          <p:cNvSpPr txBox="1"/>
          <p:nvPr/>
        </p:nvSpPr>
        <p:spPr bwMode="auto">
          <a:xfrm>
            <a:off x="533701" y="692695"/>
            <a:ext cx="10794204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457200" algn="just"/>
            <a:r>
              <a:rPr lang="it-IT" sz="2400" dirty="0">
                <a:solidFill>
                  <a:schemeClr val="tx2"/>
                </a:solidFill>
                <a:latin typeface="+mj-lt"/>
              </a:rPr>
              <a:t>Il sistema di welfare italiano è caratterizzato da una frammentazione istituzionale, conoscitiva, finanziaria e informativa: nel Centro Servizi all’Utenza saranno valorizzati i servizi già forniti da ARTE e ne verranno promossi altri per creare uno spazio di </a:t>
            </a:r>
            <a:r>
              <a:rPr lang="it-IT" sz="2400" b="1" dirty="0">
                <a:solidFill>
                  <a:schemeClr val="tx2"/>
                </a:solidFill>
                <a:latin typeface="+mj-lt"/>
              </a:rPr>
              <a:t>“welfare aggregato</a:t>
            </a:r>
            <a:r>
              <a:rPr lang="it-IT" sz="20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”</a:t>
            </a:r>
            <a:endParaRPr lang="it-IT" sz="16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B9803378-7D64-E1A0-4055-7AD2EEF83B71}"/>
              </a:ext>
            </a:extLst>
          </p:cNvPr>
          <p:cNvSpPr txBox="1"/>
          <p:nvPr/>
        </p:nvSpPr>
        <p:spPr bwMode="auto">
          <a:xfrm>
            <a:off x="7032104" y="2852936"/>
            <a:ext cx="3916587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457200" algn="just"/>
            <a:r>
              <a:rPr lang="it-IT" sz="2800" dirty="0">
                <a:solidFill>
                  <a:schemeClr val="tx2"/>
                </a:solidFill>
                <a:latin typeface="+mj-lt"/>
              </a:rPr>
              <a:t>Verrà costituita una </a:t>
            </a:r>
            <a:r>
              <a:rPr lang="it-IT" sz="2800" b="1" dirty="0">
                <a:solidFill>
                  <a:schemeClr val="tx2"/>
                </a:solidFill>
                <a:latin typeface="+mj-lt"/>
              </a:rPr>
              <a:t>Rete</a:t>
            </a:r>
            <a:r>
              <a:rPr lang="it-IT" sz="2800" dirty="0">
                <a:solidFill>
                  <a:schemeClr val="tx2"/>
                </a:solidFill>
                <a:latin typeface="+mj-lt"/>
              </a:rPr>
              <a:t> per </a:t>
            </a:r>
            <a:r>
              <a:rPr lang="it-IT" sz="2800" b="1" dirty="0">
                <a:solidFill>
                  <a:schemeClr val="tx2"/>
                </a:solidFill>
                <a:latin typeface="+mj-lt"/>
              </a:rPr>
              <a:t>fornire servizi legati al bisogno abitativo della cittadinanza fragile</a:t>
            </a:r>
            <a:r>
              <a:rPr lang="it-IT" sz="2800" dirty="0">
                <a:solidFill>
                  <a:schemeClr val="tx2"/>
                </a:solidFill>
                <a:latin typeface="+mj-lt"/>
              </a:rPr>
              <a:t>.</a:t>
            </a:r>
          </a:p>
        </p:txBody>
      </p:sp>
      <p:pic>
        <p:nvPicPr>
          <p:cNvPr id="36" name="Immagine 35" descr="Immagine che contiene cielo&#10;&#10;Descrizione generata automaticamente">
            <a:extLst>
              <a:ext uri="{FF2B5EF4-FFF2-40B4-BE49-F238E27FC236}">
                <a16:creationId xmlns:a16="http://schemas.microsoft.com/office/drawing/2014/main" id="{330058B0-4846-D839-3AF7-B2968E83D4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983432" y="2564904"/>
            <a:ext cx="5472608" cy="3744416"/>
          </a:xfrm>
          <a:prstGeom prst="rect">
            <a:avLst/>
          </a:prstGeom>
        </p:spPr>
      </p:pic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F7615DFA-735C-D36A-CE49-ED52C6F1B110}"/>
              </a:ext>
            </a:extLst>
          </p:cNvPr>
          <p:cNvSpPr txBox="1"/>
          <p:nvPr/>
        </p:nvSpPr>
        <p:spPr bwMode="auto">
          <a:xfrm>
            <a:off x="2591059" y="6858000"/>
            <a:ext cx="700988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endParaRPr lang="it-IT" sz="900" dirty="0"/>
          </a:p>
        </p:txBody>
      </p:sp>
    </p:spTree>
    <p:extLst>
      <p:ext uri="{BB962C8B-B14F-4D97-AF65-F5344CB8AC3E}">
        <p14:creationId xmlns:p14="http://schemas.microsoft.com/office/powerpoint/2010/main" val="2459314880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ageCurlDouble"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33700" y="0"/>
            <a:ext cx="7938563" cy="476672"/>
          </a:xfrm>
          <a:solidFill>
            <a:schemeClr val="bg1"/>
          </a:solidFill>
        </p:spPr>
        <p:txBody>
          <a:bodyPr/>
          <a:lstStyle/>
          <a:p>
            <a:r>
              <a:rPr lang="it-IT" dirty="0"/>
              <a:t>Gli attori coinvolti nell’innovazione</a:t>
            </a:r>
            <a:br>
              <a:rPr lang="it-IT" dirty="0"/>
            </a:br>
            <a:br>
              <a:rPr lang="it-IT" dirty="0"/>
            </a:br>
            <a:br>
              <a:rPr lang="it-IT" dirty="0"/>
            </a:br>
            <a:endParaRPr lang="it-IT" sz="2400" cap="none" dirty="0"/>
          </a:p>
        </p:txBody>
      </p:sp>
      <p:graphicFrame>
        <p:nvGraphicFramePr>
          <p:cNvPr id="13" name="Diagramma 12">
            <a:extLst>
              <a:ext uri="{FF2B5EF4-FFF2-40B4-BE49-F238E27FC236}">
                <a16:creationId xmlns:a16="http://schemas.microsoft.com/office/drawing/2014/main" id="{BBD25305-0C49-885A-BF66-7DA1C50F66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30529814"/>
              </p:ext>
            </p:extLst>
          </p:nvPr>
        </p:nvGraphicFramePr>
        <p:xfrm>
          <a:off x="1055440" y="941724"/>
          <a:ext cx="9144967" cy="52296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Freccia circolare in giù 13">
            <a:extLst>
              <a:ext uri="{FF2B5EF4-FFF2-40B4-BE49-F238E27FC236}">
                <a16:creationId xmlns:a16="http://schemas.microsoft.com/office/drawing/2014/main" id="{03E1A59B-1025-12F0-6663-5963E521BABD}"/>
              </a:ext>
            </a:extLst>
          </p:cNvPr>
          <p:cNvSpPr/>
          <p:nvPr/>
        </p:nvSpPr>
        <p:spPr bwMode="auto">
          <a:xfrm>
            <a:off x="3287688" y="715554"/>
            <a:ext cx="1216152" cy="731520"/>
          </a:xfrm>
          <a:prstGeom prst="curvedDownArrow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lIns="36000" tIns="36000" rIns="36000" bIns="36000" rtlCol="0" anchor="ctr">
            <a:normAutofit/>
          </a:bodyPr>
          <a:lstStyle/>
          <a:p>
            <a:pPr algn="ctr" defTabSz="958850" eaLnBrk="0" hangingPunct="0"/>
            <a:endParaRPr lang="it-IT" sz="1800" i="0" dirty="0">
              <a:solidFill>
                <a:srgbClr val="003399"/>
              </a:solidFill>
              <a:latin typeface="Arial" charset="0"/>
            </a:endParaRPr>
          </a:p>
        </p:txBody>
      </p:sp>
      <p:sp>
        <p:nvSpPr>
          <p:cNvPr id="16" name="Freccia circolare in giù 15">
            <a:extLst>
              <a:ext uri="{FF2B5EF4-FFF2-40B4-BE49-F238E27FC236}">
                <a16:creationId xmlns:a16="http://schemas.microsoft.com/office/drawing/2014/main" id="{3AEC2E61-6DAF-3267-E021-9B8197406B68}"/>
              </a:ext>
            </a:extLst>
          </p:cNvPr>
          <p:cNvSpPr/>
          <p:nvPr/>
        </p:nvSpPr>
        <p:spPr bwMode="auto">
          <a:xfrm>
            <a:off x="6475822" y="750800"/>
            <a:ext cx="1216152" cy="731520"/>
          </a:xfrm>
          <a:prstGeom prst="curvedDownArrow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lIns="36000" tIns="36000" rIns="36000" bIns="36000" rtlCol="0" anchor="ctr">
            <a:normAutofit/>
          </a:bodyPr>
          <a:lstStyle/>
          <a:p>
            <a:pPr algn="ctr" defTabSz="958850" eaLnBrk="0" hangingPunct="0"/>
            <a:endParaRPr lang="it-IT" sz="1800" i="0" dirty="0">
              <a:solidFill>
                <a:srgbClr val="003399"/>
              </a:solidFill>
              <a:latin typeface="Arial" charset="0"/>
            </a:endParaRPr>
          </a:p>
        </p:txBody>
      </p:sp>
      <p:sp>
        <p:nvSpPr>
          <p:cNvPr id="17" name="Freccia bidirezionale orizzontale 16">
            <a:extLst>
              <a:ext uri="{FF2B5EF4-FFF2-40B4-BE49-F238E27FC236}">
                <a16:creationId xmlns:a16="http://schemas.microsoft.com/office/drawing/2014/main" id="{AE62D223-CCAA-7E9C-6422-8F1901EB73F5}"/>
              </a:ext>
            </a:extLst>
          </p:cNvPr>
          <p:cNvSpPr/>
          <p:nvPr/>
        </p:nvSpPr>
        <p:spPr bwMode="auto">
          <a:xfrm>
            <a:off x="3431704" y="5774859"/>
            <a:ext cx="1216152" cy="484632"/>
          </a:xfrm>
          <a:prstGeom prst="leftRightArrow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lIns="36000" tIns="36000" rIns="36000" bIns="36000" rtlCol="0" anchor="ctr">
            <a:normAutofit fontScale="70000" lnSpcReduction="20000"/>
          </a:bodyPr>
          <a:lstStyle/>
          <a:p>
            <a:pPr algn="ctr" defTabSz="958850" eaLnBrk="0" hangingPunct="0"/>
            <a:endParaRPr lang="it-IT" sz="1800" i="0" dirty="0">
              <a:solidFill>
                <a:srgbClr val="003399"/>
              </a:solidFill>
              <a:latin typeface="Arial" charset="0"/>
            </a:endParaRPr>
          </a:p>
        </p:txBody>
      </p:sp>
      <p:sp>
        <p:nvSpPr>
          <p:cNvPr id="18" name="Freccia bidirezionale orizzontale 17">
            <a:extLst>
              <a:ext uri="{FF2B5EF4-FFF2-40B4-BE49-F238E27FC236}">
                <a16:creationId xmlns:a16="http://schemas.microsoft.com/office/drawing/2014/main" id="{000F3631-BC56-3D83-7409-98819BBDF63A}"/>
              </a:ext>
            </a:extLst>
          </p:cNvPr>
          <p:cNvSpPr/>
          <p:nvPr/>
        </p:nvSpPr>
        <p:spPr bwMode="auto">
          <a:xfrm>
            <a:off x="6600056" y="5774859"/>
            <a:ext cx="1216152" cy="484632"/>
          </a:xfrm>
          <a:prstGeom prst="leftRightArrow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lIns="36000" tIns="36000" rIns="36000" bIns="36000" rtlCol="0" anchor="ctr">
            <a:normAutofit fontScale="70000" lnSpcReduction="20000"/>
          </a:bodyPr>
          <a:lstStyle/>
          <a:p>
            <a:pPr algn="ctr" defTabSz="958850" eaLnBrk="0" hangingPunct="0"/>
            <a:endParaRPr lang="it-IT" sz="1800" i="0" dirty="0">
              <a:solidFill>
                <a:srgbClr val="003399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8253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14:window dir="vert"/>
      </p:transition>
    </mc:Choice>
    <mc:Fallback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79425" y="152400"/>
            <a:ext cx="5112519" cy="540296"/>
          </a:xfrm>
          <a:solidFill>
            <a:schemeClr val="bg1"/>
          </a:solidFill>
        </p:spPr>
        <p:txBody>
          <a:bodyPr/>
          <a:lstStyle/>
          <a:p>
            <a:r>
              <a:rPr lang="it-IT" sz="2400" cap="none" dirty="0"/>
              <a:t>SERVIZI COME PARTNERSHIP</a:t>
            </a:r>
          </a:p>
        </p:txBody>
      </p:sp>
      <p:pic>
        <p:nvPicPr>
          <p:cNvPr id="12" name="Elemento grafico 11" descr="Accesso universale con riempimento a tinta unita">
            <a:extLst>
              <a:ext uri="{FF2B5EF4-FFF2-40B4-BE49-F238E27FC236}">
                <a16:creationId xmlns:a16="http://schemas.microsoft.com/office/drawing/2014/main" id="{2B008805-7882-F45B-E506-190A471295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87888" y="3396527"/>
            <a:ext cx="1827637" cy="1296144"/>
          </a:xfrm>
          <a:prstGeom prst="rect">
            <a:avLst/>
          </a:prstGeom>
        </p:spPr>
      </p:pic>
      <p:pic>
        <p:nvPicPr>
          <p:cNvPr id="16" name="Elemento grafico 15" descr="Casa contorno">
            <a:extLst>
              <a:ext uri="{FF2B5EF4-FFF2-40B4-BE49-F238E27FC236}">
                <a16:creationId xmlns:a16="http://schemas.microsoft.com/office/drawing/2014/main" id="{C81F066C-9FBF-5C5C-F128-C8B6068172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07893" y="2263386"/>
            <a:ext cx="1827636" cy="1753344"/>
          </a:xfrm>
          <a:prstGeom prst="rect">
            <a:avLst/>
          </a:prstGeom>
        </p:spPr>
      </p:pic>
      <p:graphicFrame>
        <p:nvGraphicFramePr>
          <p:cNvPr id="3" name="Diagramma 2">
            <a:extLst>
              <a:ext uri="{FF2B5EF4-FFF2-40B4-BE49-F238E27FC236}">
                <a16:creationId xmlns:a16="http://schemas.microsoft.com/office/drawing/2014/main" id="{82550AA7-141F-54F0-B777-8BEE3ACB08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4117910"/>
              </p:ext>
            </p:extLst>
          </p:nvPr>
        </p:nvGraphicFramePr>
        <p:xfrm>
          <a:off x="1303065" y="764704"/>
          <a:ext cx="8856935" cy="60932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2650932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>
        <p14:gallery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9065DCD1-8E3F-44C8-9950-9867817052D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>
                                            <p:graphicEl>
                                              <a:dgm id="{9065DCD1-8E3F-44C8-9950-9867817052D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7D59FE9B-3D95-4F33-A068-6B7FC8F83F9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3">
                                            <p:graphicEl>
                                              <a:dgm id="{7D59FE9B-3D95-4F33-A068-6B7FC8F83F9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9150086B-4583-4ECB-95AD-B3311ED28E0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3">
                                            <p:graphicEl>
                                              <a:dgm id="{9150086B-4583-4ECB-95AD-B3311ED28E0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D2C56F8E-0CD4-4902-B30E-4D2CC982C4F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3">
                                            <p:graphicEl>
                                              <a:dgm id="{D2C56F8E-0CD4-4902-B30E-4D2CC982C4F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9D2B1DBF-9C20-4181-B27C-D93A62708AA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3">
                                            <p:graphicEl>
                                              <a:dgm id="{9D2B1DBF-9C20-4181-B27C-D93A62708AA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5E7A8D81-D73E-43D0-991E-D33DE857521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8" dur="2000"/>
                                        <p:tgtEl>
                                          <p:spTgt spid="3">
                                            <p:graphicEl>
                                              <a:dgm id="{5E7A8D81-D73E-43D0-991E-D33DE857521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93176C4-8414-48B2-A1B9-F40183E4BEB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1" dur="2000"/>
                                        <p:tgtEl>
                                          <p:spTgt spid="3">
                                            <p:graphicEl>
                                              <a:dgm id="{E93176C4-8414-48B2-A1B9-F40183E4BEB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2912583A-EEE2-464E-A037-30DB0EC83DE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2000"/>
                                        <p:tgtEl>
                                          <p:spTgt spid="3">
                                            <p:graphicEl>
                                              <a:dgm id="{2912583A-EEE2-464E-A037-30DB0EC83DE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0FAC108C-5A3B-4418-8C04-0D3C7DAAD49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9" dur="2000"/>
                                        <p:tgtEl>
                                          <p:spTgt spid="3">
                                            <p:graphicEl>
                                              <a:dgm id="{0FAC108C-5A3B-4418-8C04-0D3C7DAAD49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A9610407-76AA-4D2D-9A3A-9E412D28D54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2000"/>
                                        <p:tgtEl>
                                          <p:spTgt spid="3">
                                            <p:graphicEl>
                                              <a:dgm id="{A9610407-76AA-4D2D-9A3A-9E412D28D54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5A9A8515-1AAF-4D78-9B1D-07168D49F59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7" dur="2000"/>
                                        <p:tgtEl>
                                          <p:spTgt spid="3">
                                            <p:graphicEl>
                                              <a:dgm id="{5A9A8515-1AAF-4D78-9B1D-07168D49F59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C4C31832-C5F7-4BFA-BC4F-68563EC88B4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0" dur="2000"/>
                                        <p:tgtEl>
                                          <p:spTgt spid="3">
                                            <p:graphicEl>
                                              <a:dgm id="{C4C31832-C5F7-4BFA-BC4F-68563EC88B4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Dgm bld="one"/>
        </p:bldSub>
      </p:bldGraphic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E5BE497-8F72-E7A8-E52B-B97408E6F8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152400"/>
            <a:ext cx="7344767" cy="468288"/>
          </a:xfrm>
          <a:solidFill>
            <a:schemeClr val="bg1"/>
          </a:solidFill>
        </p:spPr>
        <p:txBody>
          <a:bodyPr/>
          <a:lstStyle/>
          <a:p>
            <a:r>
              <a:rPr lang="it-IT" dirty="0"/>
              <a:t>LA </a:t>
            </a:r>
            <a:r>
              <a:rPr lang="it-IT" dirty="0" err="1"/>
              <a:t>SOSTENIBILITà</a:t>
            </a:r>
            <a:r>
              <a:rPr lang="it-IT" dirty="0"/>
              <a:t> DELL’INNOVAZIONE</a:t>
            </a:r>
          </a:p>
        </p:txBody>
      </p:sp>
      <p:graphicFrame>
        <p:nvGraphicFramePr>
          <p:cNvPr id="12" name="Segnaposto contenuto 11">
            <a:extLst>
              <a:ext uri="{FF2B5EF4-FFF2-40B4-BE49-F238E27FC236}">
                <a16:creationId xmlns:a16="http://schemas.microsoft.com/office/drawing/2014/main" id="{6CDCD384-9447-0F31-6CA9-53C9BC0952C0}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1583792871"/>
              </p:ext>
            </p:extLst>
          </p:nvPr>
        </p:nvGraphicFramePr>
        <p:xfrm>
          <a:off x="479425" y="1341438"/>
          <a:ext cx="11114088" cy="49863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4" name="Immagine 13">
            <a:extLst>
              <a:ext uri="{FF2B5EF4-FFF2-40B4-BE49-F238E27FC236}">
                <a16:creationId xmlns:a16="http://schemas.microsoft.com/office/drawing/2014/main" id="{1F23C9F1-0537-2790-51C4-E8E5B5995C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61604" y="1683640"/>
            <a:ext cx="1931909" cy="737585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6A00FFE8-9A4C-E0D4-69B0-4812CA872B7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61604" y="5121190"/>
            <a:ext cx="2067645" cy="648068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33DDB3B4-9E43-8A48-183F-218816510B5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9425" y="4797152"/>
            <a:ext cx="2528672" cy="1296144"/>
          </a:xfrm>
          <a:prstGeom prst="rect">
            <a:avLst/>
          </a:prstGeom>
          <a:solidFill>
            <a:srgbClr val="F27E31"/>
          </a:solidFill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5736865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800">
        <p:circle/>
      </p:transition>
    </mc:Choice>
    <mc:Fallback>
      <p:transition spd="slow">
        <p:circl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79376" y="152400"/>
            <a:ext cx="8856985" cy="900336"/>
          </a:xfrm>
        </p:spPr>
        <p:txBody>
          <a:bodyPr/>
          <a:lstStyle/>
          <a:p>
            <a:r>
              <a:rPr lang="it-IT" dirty="0"/>
              <a:t>Piano di realizzazione</a:t>
            </a:r>
            <a:br>
              <a:rPr lang="it-IT" dirty="0"/>
            </a:br>
            <a:r>
              <a:rPr lang="it-IT" dirty="0"/>
              <a:t>Attività</a:t>
            </a:r>
            <a:endParaRPr lang="it-IT" sz="2400" cap="none" dirty="0"/>
          </a:p>
        </p:txBody>
      </p:sp>
      <p:graphicFrame>
        <p:nvGraphicFramePr>
          <p:cNvPr id="3" name="Diagramma 2">
            <a:extLst>
              <a:ext uri="{FF2B5EF4-FFF2-40B4-BE49-F238E27FC236}">
                <a16:creationId xmlns:a16="http://schemas.microsoft.com/office/drawing/2014/main" id="{81EA1142-FA00-0A4F-EFAF-4305A8311D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8978188"/>
              </p:ext>
            </p:extLst>
          </p:nvPr>
        </p:nvGraphicFramePr>
        <p:xfrm>
          <a:off x="839416" y="1556791"/>
          <a:ext cx="9320584" cy="51488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ttangolo 3">
            <a:extLst>
              <a:ext uri="{FF2B5EF4-FFF2-40B4-BE49-F238E27FC236}">
                <a16:creationId xmlns:a16="http://schemas.microsoft.com/office/drawing/2014/main" id="{E143B071-A4BC-E761-6724-F718A43F5029}"/>
              </a:ext>
            </a:extLst>
          </p:cNvPr>
          <p:cNvSpPr/>
          <p:nvPr/>
        </p:nvSpPr>
        <p:spPr bwMode="auto">
          <a:xfrm>
            <a:off x="4425516" y="1052736"/>
            <a:ext cx="1670484" cy="50405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lIns="36000" tIns="36000" rIns="36000" bIns="36000" rtlCol="0" anchor="ctr">
            <a:normAutofit fontScale="85000" lnSpcReduction="10000"/>
          </a:bodyPr>
          <a:lstStyle/>
          <a:p>
            <a:pPr algn="ctr" defTabSz="958850" eaLnBrk="0" hangingPunct="0"/>
            <a:r>
              <a:rPr lang="it-IT" sz="1800" i="0" dirty="0">
                <a:solidFill>
                  <a:srgbClr val="003399"/>
                </a:solidFill>
                <a:latin typeface="Arial" charset="0"/>
              </a:rPr>
              <a:t>CENTRO SERVIZI ALL’UTENZA</a:t>
            </a:r>
          </a:p>
        </p:txBody>
      </p:sp>
      <p:cxnSp>
        <p:nvCxnSpPr>
          <p:cNvPr id="6" name="Connettore diritto 5">
            <a:extLst>
              <a:ext uri="{FF2B5EF4-FFF2-40B4-BE49-F238E27FC236}">
                <a16:creationId xmlns:a16="http://schemas.microsoft.com/office/drawing/2014/main" id="{4446D26E-6E39-C9E3-CB0E-F89E4EF26909}"/>
              </a:ext>
            </a:extLst>
          </p:cNvPr>
          <p:cNvCxnSpPr/>
          <p:nvPr/>
        </p:nvCxnSpPr>
        <p:spPr bwMode="auto">
          <a:xfrm flipH="1">
            <a:off x="1487488" y="1556792"/>
            <a:ext cx="3600400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0B8EA80B-BFD4-6CC5-5D98-619D1FF20EFF}"/>
              </a:ext>
            </a:extLst>
          </p:cNvPr>
          <p:cNvCxnSpPr/>
          <p:nvPr/>
        </p:nvCxnSpPr>
        <p:spPr bwMode="auto">
          <a:xfrm>
            <a:off x="1487488" y="1556792"/>
            <a:ext cx="0" cy="288032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16238A90-A0A0-66CF-FF8E-D39FA11A47BD}"/>
              </a:ext>
            </a:extLst>
          </p:cNvPr>
          <p:cNvCxnSpPr/>
          <p:nvPr/>
        </p:nvCxnSpPr>
        <p:spPr bwMode="auto">
          <a:xfrm>
            <a:off x="2783632" y="1556792"/>
            <a:ext cx="0" cy="288032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ttore diritto 11">
            <a:extLst>
              <a:ext uri="{FF2B5EF4-FFF2-40B4-BE49-F238E27FC236}">
                <a16:creationId xmlns:a16="http://schemas.microsoft.com/office/drawing/2014/main" id="{5C5E102A-E68A-908A-7EE7-E0F747EC94C7}"/>
              </a:ext>
            </a:extLst>
          </p:cNvPr>
          <p:cNvCxnSpPr>
            <a:cxnSpLocks/>
          </p:cNvCxnSpPr>
          <p:nvPr/>
        </p:nvCxnSpPr>
        <p:spPr bwMode="auto">
          <a:xfrm>
            <a:off x="4223792" y="1556792"/>
            <a:ext cx="0" cy="288032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72205830-29BF-C845-08F8-FB096C3F65BD}"/>
              </a:ext>
            </a:extLst>
          </p:cNvPr>
          <p:cNvCxnSpPr/>
          <p:nvPr/>
        </p:nvCxnSpPr>
        <p:spPr bwMode="auto">
          <a:xfrm>
            <a:off x="5519936" y="1556791"/>
            <a:ext cx="0" cy="288032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>
            <a:extLst>
              <a:ext uri="{FF2B5EF4-FFF2-40B4-BE49-F238E27FC236}">
                <a16:creationId xmlns:a16="http://schemas.microsoft.com/office/drawing/2014/main" id="{0BE6020C-D09C-0815-2AA1-154C74314E1D}"/>
              </a:ext>
            </a:extLst>
          </p:cNvPr>
          <p:cNvCxnSpPr>
            <a:cxnSpLocks/>
          </p:cNvCxnSpPr>
          <p:nvPr/>
        </p:nvCxnSpPr>
        <p:spPr bwMode="auto">
          <a:xfrm>
            <a:off x="6095999" y="1556790"/>
            <a:ext cx="3312369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ttore diritto 22">
            <a:extLst>
              <a:ext uri="{FF2B5EF4-FFF2-40B4-BE49-F238E27FC236}">
                <a16:creationId xmlns:a16="http://schemas.microsoft.com/office/drawing/2014/main" id="{1619D51C-3741-0F06-6410-65A5696BEA5D}"/>
              </a:ext>
            </a:extLst>
          </p:cNvPr>
          <p:cNvCxnSpPr/>
          <p:nvPr/>
        </p:nvCxnSpPr>
        <p:spPr bwMode="auto">
          <a:xfrm>
            <a:off x="9408368" y="1556790"/>
            <a:ext cx="0" cy="288033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B2D59ED4-4576-36F6-E18F-3225B8399ECD}"/>
              </a:ext>
            </a:extLst>
          </p:cNvPr>
          <p:cNvCxnSpPr>
            <a:cxnSpLocks/>
          </p:cNvCxnSpPr>
          <p:nvPr/>
        </p:nvCxnSpPr>
        <p:spPr bwMode="auto">
          <a:xfrm>
            <a:off x="8184232" y="1556790"/>
            <a:ext cx="0" cy="216026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ttore diritto 27">
            <a:extLst>
              <a:ext uri="{FF2B5EF4-FFF2-40B4-BE49-F238E27FC236}">
                <a16:creationId xmlns:a16="http://schemas.microsoft.com/office/drawing/2014/main" id="{FF70A3EA-5FF1-FB15-263B-03BE15A81D65}"/>
              </a:ext>
            </a:extLst>
          </p:cNvPr>
          <p:cNvCxnSpPr/>
          <p:nvPr/>
        </p:nvCxnSpPr>
        <p:spPr bwMode="auto">
          <a:xfrm>
            <a:off x="6888088" y="1556790"/>
            <a:ext cx="0" cy="288033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7267240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2000">
        <p15:prstTrans prst="drape"/>
      </p:transition>
    </mc:Choice>
    <mc:Fallback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Sal – </a:t>
            </a:r>
            <a:r>
              <a:rPr lang="it-IT" sz="2400" cap="none" dirty="0"/>
              <a:t>RISULTATI DA RAGGIUNGERE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1940FD5B-F992-2371-A79E-49CC5F12A150}"/>
              </a:ext>
            </a:extLst>
          </p:cNvPr>
          <p:cNvSpPr txBox="1"/>
          <p:nvPr/>
        </p:nvSpPr>
        <p:spPr bwMode="auto">
          <a:xfrm>
            <a:off x="479425" y="1366838"/>
            <a:ext cx="10729143" cy="452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it-IT" sz="3600" dirty="0">
                <a:solidFill>
                  <a:schemeClr val="tx2"/>
                </a:solidFill>
                <a:latin typeface="+mj-lt"/>
              </a:rPr>
              <a:t>Verranno raggiunti i risultati attesi se il </a:t>
            </a:r>
            <a:r>
              <a:rPr lang="it-IT" sz="3600" b="1" dirty="0">
                <a:solidFill>
                  <a:schemeClr val="tx2"/>
                </a:solidFill>
                <a:latin typeface="+mj-lt"/>
              </a:rPr>
              <a:t>Centro Servizi all’Utenza </a:t>
            </a:r>
            <a:r>
              <a:rPr lang="it-IT" sz="3600" dirty="0">
                <a:solidFill>
                  <a:schemeClr val="tx2"/>
                </a:solidFill>
                <a:latin typeface="+mj-lt"/>
              </a:rPr>
              <a:t>riuscirà a creare come </a:t>
            </a:r>
            <a:r>
              <a:rPr lang="it-IT" sz="3600" b="1" dirty="0">
                <a:solidFill>
                  <a:schemeClr val="tx2"/>
                </a:solidFill>
                <a:latin typeface="+mj-lt"/>
              </a:rPr>
              <a:t>valore pubblico finale una migliore Qualità dell’abitare,</a:t>
            </a:r>
            <a:r>
              <a:rPr lang="it-IT" sz="3600" dirty="0">
                <a:solidFill>
                  <a:schemeClr val="tx2"/>
                </a:solidFill>
                <a:latin typeface="+mj-lt"/>
              </a:rPr>
              <a:t> superando i </a:t>
            </a:r>
            <a:r>
              <a:rPr lang="it-IT" sz="3600" b="1" dirty="0">
                <a:solidFill>
                  <a:schemeClr val="tx2"/>
                </a:solidFill>
                <a:latin typeface="+mj-lt"/>
              </a:rPr>
              <a:t>confini </a:t>
            </a:r>
            <a:r>
              <a:rPr lang="it-IT" sz="3600" dirty="0">
                <a:solidFill>
                  <a:schemeClr val="tx2"/>
                </a:solidFill>
                <a:latin typeface="+mj-lt"/>
              </a:rPr>
              <a:t>che separano le sfere di welfare pubblico da quello privato e se ci sarà </a:t>
            </a:r>
            <a:r>
              <a:rPr lang="it-IT" sz="3600" b="1" dirty="0">
                <a:solidFill>
                  <a:schemeClr val="tx2"/>
                </a:solidFill>
                <a:latin typeface="+mj-lt"/>
              </a:rPr>
              <a:t>un incremento del numero degli utenti </a:t>
            </a:r>
            <a:r>
              <a:rPr lang="it-IT" sz="3600" dirty="0">
                <a:solidFill>
                  <a:schemeClr val="tx2"/>
                </a:solidFill>
                <a:latin typeface="+mj-lt"/>
              </a:rPr>
              <a:t>che si avvarrà dei servizi offerti utilizzando i nuovi </a:t>
            </a:r>
            <a:r>
              <a:rPr lang="it-IT" sz="3600" b="1" dirty="0">
                <a:solidFill>
                  <a:schemeClr val="tx2"/>
                </a:solidFill>
                <a:latin typeface="+mj-lt"/>
              </a:rPr>
              <a:t>strumenti digitali.</a:t>
            </a:r>
            <a:endParaRPr lang="it-IT" sz="3600" b="1" dirty="0"/>
          </a:p>
        </p:txBody>
      </p:sp>
    </p:spTree>
    <p:extLst>
      <p:ext uri="{BB962C8B-B14F-4D97-AF65-F5344CB8AC3E}">
        <p14:creationId xmlns:p14="http://schemas.microsoft.com/office/powerpoint/2010/main" val="1832458072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ageCurlDouble"/>
      </p:transition>
    </mc:Choice>
    <mc:Fallback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Messaggi chiave del progetto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75721223-6B8D-6E76-7F06-56DA9FC6A277}"/>
              </a:ext>
            </a:extLst>
          </p:cNvPr>
          <p:cNvSpPr txBox="1"/>
          <p:nvPr/>
        </p:nvSpPr>
        <p:spPr bwMode="auto">
          <a:xfrm>
            <a:off x="767408" y="1862822"/>
            <a:ext cx="5544616" cy="286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it-IT" sz="3600" b="1" dirty="0">
                <a:solidFill>
                  <a:schemeClr val="tx2"/>
                </a:solidFill>
                <a:latin typeface="+mj-lt"/>
              </a:rPr>
              <a:t>La casa </a:t>
            </a:r>
            <a:r>
              <a:rPr lang="it-IT" sz="3600" dirty="0">
                <a:solidFill>
                  <a:schemeClr val="tx2"/>
                </a:solidFill>
                <a:latin typeface="+mj-lt"/>
              </a:rPr>
              <a:t>costituisce la componente fisica </a:t>
            </a:r>
            <a:r>
              <a:rPr lang="it-IT" sz="3600" b="1" dirty="0">
                <a:solidFill>
                  <a:schemeClr val="tx2"/>
                </a:solidFill>
                <a:latin typeface="+mj-lt"/>
              </a:rPr>
              <a:t>del servizio abitativo </a:t>
            </a:r>
            <a:r>
              <a:rPr lang="it-IT" sz="3600" dirty="0">
                <a:solidFill>
                  <a:schemeClr val="tx2"/>
                </a:solidFill>
                <a:latin typeface="+mj-lt"/>
              </a:rPr>
              <a:t>che ha il suo</a:t>
            </a:r>
            <a:r>
              <a:rPr lang="it-IT" sz="3600" b="1" dirty="0">
                <a:solidFill>
                  <a:schemeClr val="tx2"/>
                </a:solidFill>
                <a:latin typeface="+mj-lt"/>
              </a:rPr>
              <a:t> nuovo </a:t>
            </a:r>
            <a:r>
              <a:rPr lang="it-IT" sz="3600" dirty="0">
                <a:solidFill>
                  <a:schemeClr val="tx2"/>
                </a:solidFill>
                <a:latin typeface="+mj-lt"/>
              </a:rPr>
              <a:t>baricentro nella</a:t>
            </a:r>
            <a:r>
              <a:rPr lang="it-IT" sz="3600" b="1" dirty="0">
                <a:solidFill>
                  <a:schemeClr val="tx2"/>
                </a:solidFill>
                <a:latin typeface="+mj-lt"/>
              </a:rPr>
              <a:t> persona</a:t>
            </a:r>
          </a:p>
        </p:txBody>
      </p:sp>
      <p:pic>
        <p:nvPicPr>
          <p:cNvPr id="5" name="Immagine 4" descr="Immagine che contiene giallo&#10;&#10;Descrizione generata automaticamente">
            <a:extLst>
              <a:ext uri="{FF2B5EF4-FFF2-40B4-BE49-F238E27FC236}">
                <a16:creationId xmlns:a16="http://schemas.microsoft.com/office/drawing/2014/main" id="{9145E324-A1F6-DA6A-D2E2-B48F756387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7320136" y="1502917"/>
            <a:ext cx="4483185" cy="4483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9305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79426" y="152400"/>
            <a:ext cx="8856936" cy="1062038"/>
          </a:xfrm>
        </p:spPr>
        <p:txBody>
          <a:bodyPr/>
          <a:lstStyle/>
          <a:p>
            <a:r>
              <a:rPr lang="it-IT" dirty="0"/>
              <a:t>Messaggi chiave del progetto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75721223-6B8D-6E76-7F06-56DA9FC6A277}"/>
              </a:ext>
            </a:extLst>
          </p:cNvPr>
          <p:cNvSpPr txBox="1"/>
          <p:nvPr/>
        </p:nvSpPr>
        <p:spPr bwMode="auto">
          <a:xfrm>
            <a:off x="695400" y="1214438"/>
            <a:ext cx="6552728" cy="452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it-IT" sz="3600" b="1" dirty="0">
                <a:solidFill>
                  <a:schemeClr val="tx2"/>
                </a:solidFill>
                <a:latin typeface="+mj-lt"/>
              </a:rPr>
              <a:t>La qualità dell’abitare </a:t>
            </a:r>
            <a:r>
              <a:rPr lang="it-IT" sz="3600" dirty="0">
                <a:solidFill>
                  <a:schemeClr val="tx2"/>
                </a:solidFill>
                <a:latin typeface="+mj-lt"/>
              </a:rPr>
              <a:t>migliora se si generano </a:t>
            </a:r>
            <a:r>
              <a:rPr lang="it-IT" sz="3600" b="1" dirty="0">
                <a:solidFill>
                  <a:schemeClr val="tx2"/>
                </a:solidFill>
                <a:latin typeface="+mj-lt"/>
              </a:rPr>
              <a:t>processi di partecipazione e di coinvolgimento attivo </a:t>
            </a:r>
            <a:r>
              <a:rPr lang="it-IT" sz="3600" dirty="0">
                <a:solidFill>
                  <a:schemeClr val="tx2"/>
                </a:solidFill>
                <a:latin typeface="+mj-lt"/>
              </a:rPr>
              <a:t>in grado di far sentire </a:t>
            </a:r>
            <a:r>
              <a:rPr lang="it-IT" sz="3600" b="1" dirty="0">
                <a:solidFill>
                  <a:schemeClr val="tx2"/>
                </a:solidFill>
                <a:latin typeface="+mj-lt"/>
              </a:rPr>
              <a:t>ognuno determinante e fondamentale </a:t>
            </a:r>
            <a:r>
              <a:rPr lang="it-IT" sz="3600" dirty="0">
                <a:solidFill>
                  <a:schemeClr val="tx2"/>
                </a:solidFill>
                <a:latin typeface="+mj-lt"/>
              </a:rPr>
              <a:t>nella realizzazione </a:t>
            </a:r>
            <a:r>
              <a:rPr lang="it-IT" sz="3600" b="1" dirty="0">
                <a:solidFill>
                  <a:schemeClr val="tx2"/>
                </a:solidFill>
                <a:latin typeface="+mj-lt"/>
              </a:rPr>
              <a:t>di comunità resilienti</a:t>
            </a:r>
          </a:p>
        </p:txBody>
      </p:sp>
      <p:pic>
        <p:nvPicPr>
          <p:cNvPr id="5" name="Immagine 4" descr="Immagine che contiene giallo&#10;&#10;Descrizione generata automaticamente">
            <a:extLst>
              <a:ext uri="{FF2B5EF4-FFF2-40B4-BE49-F238E27FC236}">
                <a16:creationId xmlns:a16="http://schemas.microsoft.com/office/drawing/2014/main" id="{A8913000-0919-B811-125F-F7077DC90F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7608168" y="1526753"/>
            <a:ext cx="4212000" cy="42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8274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Overview</a:t>
            </a:r>
            <a:r>
              <a:rPr lang="it-IT" dirty="0"/>
              <a:t> del progetto</a:t>
            </a:r>
            <a:br>
              <a:rPr lang="it-IT" dirty="0"/>
            </a:br>
            <a:endParaRPr lang="it-IT" dirty="0"/>
          </a:p>
        </p:txBody>
      </p:sp>
      <p:graphicFrame>
        <p:nvGraphicFramePr>
          <p:cNvPr id="17" name="Segnaposto contenuto 16">
            <a:extLst>
              <a:ext uri="{FF2B5EF4-FFF2-40B4-BE49-F238E27FC236}">
                <a16:creationId xmlns:a16="http://schemas.microsoft.com/office/drawing/2014/main" id="{65439E0C-907D-3863-5D57-5504465A1070}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1873110443"/>
              </p:ext>
            </p:extLst>
          </p:nvPr>
        </p:nvGraphicFramePr>
        <p:xfrm>
          <a:off x="479425" y="1341438"/>
          <a:ext cx="11114088" cy="49863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2" name="Elemento grafico 21" descr="Città contorno">
            <a:extLst>
              <a:ext uri="{FF2B5EF4-FFF2-40B4-BE49-F238E27FC236}">
                <a16:creationId xmlns:a16="http://schemas.microsoft.com/office/drawing/2014/main" id="{5811C72D-28C7-BA6C-EB49-CCD0E915450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4296" y="1614389"/>
            <a:ext cx="936276" cy="936000"/>
          </a:xfrm>
          <a:prstGeom prst="rect">
            <a:avLst/>
          </a:prstGeom>
        </p:spPr>
      </p:pic>
      <p:pic>
        <p:nvPicPr>
          <p:cNvPr id="36" name="Elemento grafico 35" descr="Riunione contorno">
            <a:extLst>
              <a:ext uri="{FF2B5EF4-FFF2-40B4-BE49-F238E27FC236}">
                <a16:creationId xmlns:a16="http://schemas.microsoft.com/office/drawing/2014/main" id="{21AC4934-0919-2048-4AD5-6D7175A72F4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69920" y="3722341"/>
            <a:ext cx="952734" cy="988540"/>
          </a:xfrm>
          <a:prstGeom prst="rect">
            <a:avLst/>
          </a:prstGeom>
        </p:spPr>
      </p:pic>
      <p:pic>
        <p:nvPicPr>
          <p:cNvPr id="38" name="Elemento grafico 37" descr="Riunione con riempimento a tinta unita">
            <a:extLst>
              <a:ext uri="{FF2B5EF4-FFF2-40B4-BE49-F238E27FC236}">
                <a16:creationId xmlns:a16="http://schemas.microsoft.com/office/drawing/2014/main" id="{03D93A60-F893-88AF-CE4B-F89932237B1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22736" y="4122218"/>
            <a:ext cx="914400" cy="812261"/>
          </a:xfrm>
          <a:prstGeom prst="rect">
            <a:avLst/>
          </a:prstGeom>
        </p:spPr>
      </p:pic>
      <p:pic>
        <p:nvPicPr>
          <p:cNvPr id="42" name="Elemento grafico 41" descr="Successo di gruppo con riempimento a tinta unita">
            <a:extLst>
              <a:ext uri="{FF2B5EF4-FFF2-40B4-BE49-F238E27FC236}">
                <a16:creationId xmlns:a16="http://schemas.microsoft.com/office/drawing/2014/main" id="{892362EF-AC0A-6805-0F56-AE70CCF239A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61838" y="5110758"/>
            <a:ext cx="1022810" cy="936000"/>
          </a:xfrm>
          <a:prstGeom prst="rect">
            <a:avLst/>
          </a:prstGeom>
        </p:spPr>
      </p:pic>
      <p:pic>
        <p:nvPicPr>
          <p:cNvPr id="44" name="Elemento grafico 43" descr="Architettura con riempimento a tinta unita">
            <a:extLst>
              <a:ext uri="{FF2B5EF4-FFF2-40B4-BE49-F238E27FC236}">
                <a16:creationId xmlns:a16="http://schemas.microsoft.com/office/drawing/2014/main" id="{63349FBE-F155-21B2-4B40-88FB0A73B32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27448" y="278278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55970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ageCurlDouble"/>
      </p:transition>
    </mc:Choice>
    <mc:Fallback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A6143B36-D32D-C3AD-B034-B8344630EB20}"/>
              </a:ext>
            </a:extLst>
          </p:cNvPr>
          <p:cNvSpPr txBox="1"/>
          <p:nvPr/>
        </p:nvSpPr>
        <p:spPr bwMode="auto">
          <a:xfrm>
            <a:off x="3032221" y="2767280"/>
            <a:ext cx="6098720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/>
            <a:r>
              <a:rPr lang="it-IT" b="0" i="0" dirty="0">
                <a:solidFill>
                  <a:srgbClr val="FFFFFF"/>
                </a:solidFill>
                <a:effectLst/>
                <a:latin typeface="avenir-lt-w01_35-light1475496"/>
              </a:rPr>
              <a:t>È impossibile vincere le grandi scommesse della vita senza correre dei rischi, e le più grandi scommesse solle relative alla </a:t>
            </a:r>
            <a:r>
              <a:rPr lang="it-IT" b="1" i="0" dirty="0">
                <a:solidFill>
                  <a:srgbClr val="FFFFFF"/>
                </a:solidFill>
                <a:effectLst/>
                <a:latin typeface="avenir-lt-w01_85-heavy1475544"/>
              </a:rPr>
              <a:t>casa</a:t>
            </a:r>
            <a:endParaRPr lang="it-IT" b="0" i="0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  <a:p>
            <a:pPr algn="ctr" fontAlgn="base"/>
            <a:r>
              <a:rPr lang="it-IT" b="0" i="0" dirty="0">
                <a:solidFill>
                  <a:srgbClr val="FFFFFF"/>
                </a:solidFill>
                <a:effectLst/>
                <a:latin typeface="avenir-lt-w01_35-light1475496"/>
              </a:rPr>
              <a:t>e al </a:t>
            </a:r>
            <a:r>
              <a:rPr lang="it-IT" b="0" i="0" dirty="0">
                <a:solidFill>
                  <a:srgbClr val="FFFFFF"/>
                </a:solidFill>
                <a:effectLst/>
                <a:latin typeface="avenir-lt-w01_85-heavy1475544"/>
              </a:rPr>
              <a:t>famiglia</a:t>
            </a:r>
            <a:r>
              <a:rPr lang="it-IT" b="0" i="0" dirty="0">
                <a:solidFill>
                  <a:srgbClr val="FFFFFF"/>
                </a:solidFill>
                <a:effectLst/>
                <a:latin typeface="avenir-lt-w01_35-light1475496"/>
              </a:rPr>
              <a:t>.</a:t>
            </a:r>
            <a:endParaRPr lang="it-IT" b="0" i="0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5571551F-D13B-F7A1-7AEB-E50249788190}"/>
              </a:ext>
            </a:extLst>
          </p:cNvPr>
          <p:cNvSpPr txBox="1"/>
          <p:nvPr/>
        </p:nvSpPr>
        <p:spPr bwMode="auto">
          <a:xfrm flipH="1">
            <a:off x="9840416" y="3212976"/>
            <a:ext cx="2016223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fontAlgn="base"/>
            <a:br>
              <a:rPr lang="it-IT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</a:br>
            <a:r>
              <a:rPr lang="it-IT" sz="2000" b="1" dirty="0">
                <a:solidFill>
                  <a:schemeClr val="tx2"/>
                </a:solidFill>
                <a:latin typeface="+mj-lt"/>
              </a:rPr>
              <a:t>GRAZIE A TUTTI PER     L’ATTENZIONE</a:t>
            </a:r>
          </a:p>
          <a:p>
            <a:pPr algn="l" fontAlgn="base"/>
            <a:r>
              <a:rPr lang="it-IT" b="1" dirty="0">
                <a:solidFill>
                  <a:schemeClr val="tx2"/>
                </a:solidFill>
                <a:latin typeface="+mj-lt"/>
              </a:rPr>
              <a:t>E RICORDATE CHE…</a:t>
            </a:r>
            <a:endParaRPr lang="it-IT" sz="2000" b="1" dirty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8AF9510E-2A6C-208E-8627-D6F8CC6E51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71877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373234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sellaDiTesto 9"/>
          <p:cNvSpPr txBox="1"/>
          <p:nvPr/>
        </p:nvSpPr>
        <p:spPr bwMode="auto">
          <a:xfrm>
            <a:off x="4973718" y="5517232"/>
            <a:ext cx="55350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r>
              <a:rPr lang="en-US" sz="1800" b="1" i="0" cap="all" dirty="0" err="1">
                <a:solidFill>
                  <a:srgbClr val="7D8719"/>
                </a:solidFill>
                <a:latin typeface="+mj-lt"/>
              </a:rPr>
              <a:t>Scegli</a:t>
            </a:r>
            <a:r>
              <a:rPr lang="en-US" sz="1800" b="1" i="0" cap="all" dirty="0">
                <a:solidFill>
                  <a:srgbClr val="7D8719"/>
                </a:solidFill>
                <a:latin typeface="+mj-lt"/>
              </a:rPr>
              <a:t> di </a:t>
            </a:r>
            <a:r>
              <a:rPr lang="en-US" sz="1800" b="1" i="0" cap="all" dirty="0" err="1">
                <a:solidFill>
                  <a:srgbClr val="7D8719"/>
                </a:solidFill>
                <a:latin typeface="+mj-lt"/>
              </a:rPr>
              <a:t>dirigere</a:t>
            </a:r>
            <a:r>
              <a:rPr lang="en-US" sz="1800" b="1" i="0" cap="all" dirty="0">
                <a:solidFill>
                  <a:srgbClr val="7D8719"/>
                </a:solidFill>
                <a:latin typeface="+mj-lt"/>
              </a:rPr>
              <a:t> </a:t>
            </a:r>
            <a:r>
              <a:rPr lang="en-US" sz="1800" b="1" i="0" cap="all" dirty="0" err="1">
                <a:solidFill>
                  <a:srgbClr val="7D8719"/>
                </a:solidFill>
                <a:latin typeface="+mj-lt"/>
              </a:rPr>
              <a:t>il</a:t>
            </a:r>
            <a:r>
              <a:rPr lang="en-US" sz="1800" b="1" i="0" cap="all" dirty="0">
                <a:solidFill>
                  <a:srgbClr val="7D8719"/>
                </a:solidFill>
                <a:latin typeface="+mj-lt"/>
              </a:rPr>
              <a:t> </a:t>
            </a:r>
            <a:r>
              <a:rPr lang="en-US" sz="1800" b="1" i="0" cap="all" dirty="0" err="1">
                <a:solidFill>
                  <a:srgbClr val="7D8719"/>
                </a:solidFill>
                <a:latin typeface="+mj-lt"/>
              </a:rPr>
              <a:t>cambiamento</a:t>
            </a:r>
            <a:r>
              <a:rPr lang="en-US" sz="1800" b="1" i="0" cap="all" dirty="0">
                <a:solidFill>
                  <a:srgbClr val="7D8719"/>
                </a:solidFill>
                <a:latin typeface="+mj-lt"/>
              </a:rPr>
              <a:t>.</a:t>
            </a:r>
          </a:p>
        </p:txBody>
      </p:sp>
      <p:pic>
        <p:nvPicPr>
          <p:cNvPr id="11" name="Immagine 10" descr="emmap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5640" y="4005064"/>
            <a:ext cx="2118078" cy="2448272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BFC08D21-2CEE-3054-9396-54E5F4B70457}"/>
              </a:ext>
            </a:extLst>
          </p:cNvPr>
          <p:cNvSpPr txBox="1"/>
          <p:nvPr/>
        </p:nvSpPr>
        <p:spPr bwMode="auto">
          <a:xfrm flipH="1">
            <a:off x="7248128" y="263550"/>
            <a:ext cx="2016223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fontAlgn="base"/>
            <a:br>
              <a:rPr lang="it-IT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</a:br>
            <a:r>
              <a:rPr lang="it-IT" sz="2000" b="1" dirty="0">
                <a:solidFill>
                  <a:schemeClr val="tx2"/>
                </a:solidFill>
                <a:latin typeface="+mj-lt"/>
              </a:rPr>
              <a:t>INSIEME A</a:t>
            </a:r>
          </a:p>
        </p:txBody>
      </p:sp>
    </p:spTree>
    <p:extLst>
      <p:ext uri="{BB962C8B-B14F-4D97-AF65-F5344CB8AC3E}">
        <p14:creationId xmlns:p14="http://schemas.microsoft.com/office/powerpoint/2010/main" val="31931190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egnaposto testo 16">
            <a:extLst>
              <a:ext uri="{FF2B5EF4-FFF2-40B4-BE49-F238E27FC236}">
                <a16:creationId xmlns:a16="http://schemas.microsoft.com/office/drawing/2014/main" id="{94495366-EE59-449D-B7FC-B98DC2FE6C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05107" y="3055535"/>
            <a:ext cx="7981786" cy="2609103"/>
          </a:xfrm>
        </p:spPr>
        <p:txBody>
          <a:bodyPr rtlCol="0"/>
          <a:lstStyle/>
          <a:p>
            <a:pPr rtl="0"/>
            <a:r>
              <a:rPr lang="it-IT" sz="2800"/>
              <a:t>"Se puoi riprodurre un'idea nella tua mente come un film, fotogramma per fotogramma, scena per scena, allora vale la pena di essere realizzata."</a:t>
            </a:r>
          </a:p>
        </p:txBody>
      </p:sp>
      <p:sp>
        <p:nvSpPr>
          <p:cNvPr id="41" name="Segnaposto testo 40">
            <a:extLst>
              <a:ext uri="{FF2B5EF4-FFF2-40B4-BE49-F238E27FC236}">
                <a16:creationId xmlns:a16="http://schemas.microsoft.com/office/drawing/2014/main" id="{1404CCDC-501B-496D-9029-79E903535B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0083" y="5448575"/>
            <a:ext cx="4881563" cy="463550"/>
          </a:xfr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r>
              <a:rPr lang="it-IT"/>
              <a:t>Craig Mapp</a:t>
            </a:r>
          </a:p>
          <a:p>
            <a:pPr lvl="0" rtl="0"/>
            <a:endParaRPr lang="it-IT"/>
          </a:p>
        </p:txBody>
      </p:sp>
      <p:pic>
        <p:nvPicPr>
          <p:cNvPr id="29" name="Elemento grafico 28">
            <a:extLst>
              <a:ext uri="{FF2B5EF4-FFF2-40B4-BE49-F238E27FC236}">
                <a16:creationId xmlns:a16="http://schemas.microsoft.com/office/drawing/2014/main" id="{533799A4-8798-4781-8D28-35CC07B11D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29180" y="3069456"/>
            <a:ext cx="438150" cy="247650"/>
          </a:xfrm>
          <a:prstGeom prst="rect">
            <a:avLst/>
          </a:prstGeom>
        </p:spPr>
      </p:pic>
      <p:cxnSp>
        <p:nvCxnSpPr>
          <p:cNvPr id="86" name="Connettore diritto 85">
            <a:extLst>
              <a:ext uri="{FF2B5EF4-FFF2-40B4-BE49-F238E27FC236}">
                <a16:creationId xmlns:a16="http://schemas.microsoft.com/office/drawing/2014/main" id="{F4C50844-6236-4709-89E7-EDEB329350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929759" y="3219972"/>
            <a:ext cx="6960476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egnaposto data 1">
            <a:extLst>
              <a:ext uri="{FF2B5EF4-FFF2-40B4-BE49-F238E27FC236}">
                <a16:creationId xmlns:a16="http://schemas.microsoft.com/office/drawing/2014/main" id="{0B5BA509-DAAD-4388-BA81-0E36F41024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rtlCol="0"/>
          <a:lstStyle/>
          <a:p>
            <a:pPr rtl="0"/>
            <a:r>
              <a:rPr lang="it-IT"/>
              <a:t>05/08/20XX</a:t>
            </a:r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5A6A85B3-E03B-45D8-B73E-4D8A1C3DB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 rtlCol="0"/>
          <a:lstStyle/>
          <a:p>
            <a:pPr rtl="0"/>
            <a:r>
              <a:rPr lang="it-IT"/>
              <a:t>Presentazione per conferenza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F9F0A4C6-E394-4175-B209-3CE54B720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rtlCol="0"/>
          <a:lstStyle/>
          <a:p>
            <a:pPr rtl="0"/>
            <a:fld id="{18D65601-5AE2-46FC-B138-694DDD2B510D}" type="slidenum">
              <a:rPr lang="it-IT" smtClean="0"/>
              <a:pPr rtl="0"/>
              <a:t>22</a:t>
            </a:fld>
            <a:endParaRPr lang="it-IT"/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FB9A8AF1-3BC4-8F4A-37A0-27943095F28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49820"/>
          <a:stretch/>
        </p:blipFill>
        <p:spPr>
          <a:xfrm>
            <a:off x="3167476" y="2086146"/>
            <a:ext cx="8965466" cy="4771854"/>
          </a:xfrm>
          <a:prstGeom prst="rect">
            <a:avLst/>
          </a:prstGeom>
        </p:spPr>
      </p:pic>
      <p:sp>
        <p:nvSpPr>
          <p:cNvPr id="12" name="Segnaposto testo 11">
            <a:extLst>
              <a:ext uri="{FF2B5EF4-FFF2-40B4-BE49-F238E27FC236}">
                <a16:creationId xmlns:a16="http://schemas.microsoft.com/office/drawing/2014/main" id="{EC0223E6-6F2A-D1D6-860B-F7EEB7FADD57}"/>
              </a:ext>
            </a:extLst>
          </p:cNvPr>
          <p:cNvSpPr txBox="1">
            <a:spLocks/>
          </p:cNvSpPr>
          <p:nvPr/>
        </p:nvSpPr>
        <p:spPr>
          <a:xfrm>
            <a:off x="-19117" y="1698749"/>
            <a:ext cx="7240968" cy="68323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kern="1200" spc="1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it-IT" sz="3500" dirty="0">
                <a:solidFill>
                  <a:schemeClr val="accent6"/>
                </a:solidFill>
              </a:rPr>
              <a:t>VI ASPETTIAMO!</a:t>
            </a:r>
            <a:br>
              <a:rPr lang="it-IT" sz="3500" dirty="0">
                <a:solidFill>
                  <a:schemeClr val="accent6"/>
                </a:solidFill>
              </a:rPr>
            </a:br>
            <a:endParaRPr lang="it-IT" sz="3500" dirty="0">
              <a:solidFill>
                <a:schemeClr val="accent6"/>
              </a:solidFill>
            </a:endParaRPr>
          </a:p>
        </p:txBody>
      </p:sp>
      <p:pic>
        <p:nvPicPr>
          <p:cNvPr id="6" name="Immagine 12">
            <a:extLst>
              <a:ext uri="{FF2B5EF4-FFF2-40B4-BE49-F238E27FC236}">
                <a16:creationId xmlns:a16="http://schemas.microsoft.com/office/drawing/2014/main" id="{6166C46F-5957-71BB-D31F-F172ABEA3E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5047" y="299520"/>
            <a:ext cx="1154048" cy="3961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ttangolo 6">
            <a:extLst>
              <a:ext uri="{FF2B5EF4-FFF2-40B4-BE49-F238E27FC236}">
                <a16:creationId xmlns:a16="http://schemas.microsoft.com/office/drawing/2014/main" id="{455C3E69-3210-9BD3-D0B0-8D4F380B3FB7}"/>
              </a:ext>
            </a:extLst>
          </p:cNvPr>
          <p:cNvSpPr/>
          <p:nvPr/>
        </p:nvSpPr>
        <p:spPr>
          <a:xfrm>
            <a:off x="0" y="0"/>
            <a:ext cx="3167476" cy="6858000"/>
          </a:xfrm>
          <a:prstGeom prst="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5335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400">
        <p14:doors dir="vert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79424" y="152400"/>
            <a:ext cx="9937056" cy="1062038"/>
          </a:xfrm>
        </p:spPr>
        <p:txBody>
          <a:bodyPr/>
          <a:lstStyle/>
          <a:p>
            <a:r>
              <a:rPr lang="it-IT" dirty="0"/>
              <a:t>il CONTESTO</a:t>
            </a:r>
            <a:br>
              <a:rPr lang="it-IT" dirty="0"/>
            </a:br>
            <a:r>
              <a:rPr lang="it-IT" dirty="0"/>
              <a:t>la </a:t>
            </a:r>
            <a:r>
              <a:rPr lang="it-IT" i="1" dirty="0"/>
              <a:t>MISSION</a:t>
            </a:r>
            <a:r>
              <a:rPr lang="it-IT" dirty="0"/>
              <a:t> DELLE Aziende Casa</a:t>
            </a:r>
            <a:endParaRPr lang="it-IT" sz="2400" cap="none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D709AEB-8B07-1971-7E4A-C86BA5FC9219}"/>
              </a:ext>
            </a:extLst>
          </p:cNvPr>
          <p:cNvSpPr txBox="1">
            <a:spLocks/>
          </p:cNvSpPr>
          <p:nvPr/>
        </p:nvSpPr>
        <p:spPr>
          <a:xfrm>
            <a:off x="1127449" y="1412776"/>
            <a:ext cx="9937056" cy="3456384"/>
          </a:xfrm>
          <a:prstGeom prst="rect">
            <a:avLst/>
          </a:prstGeom>
        </p:spPr>
        <p:txBody>
          <a:bodyPr/>
          <a:lstStyle>
            <a:lvl1pPr marL="360363" indent="-360363" algn="l" defTabSz="9588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rgbClr val="002855"/>
                </a:solidFill>
                <a:latin typeface="Arial" charset="0"/>
                <a:ea typeface="+mn-ea"/>
                <a:cs typeface="+mn-cs"/>
              </a:defRPr>
            </a:lvl1pPr>
            <a:lvl2pPr marL="777875" indent="-298450" algn="l" defTabSz="9588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00">
                <a:solidFill>
                  <a:srgbClr val="002855"/>
                </a:solidFill>
                <a:latin typeface="Arial" charset="0"/>
              </a:defRPr>
            </a:lvl2pPr>
            <a:lvl3pPr marL="1198563" indent="-239713" algn="l" defTabSz="958850" rtl="0" eaLnBrk="1" fontAlgn="base" hangingPunct="1">
              <a:spcBef>
                <a:spcPct val="20000"/>
              </a:spcBef>
              <a:spcAft>
                <a:spcPct val="0"/>
              </a:spcAft>
              <a:buSzPct val="90000"/>
              <a:buFont typeface="Wingdings" pitchFamily="2" charset="2"/>
              <a:buChar char="§"/>
              <a:defRPr sz="1600">
                <a:solidFill>
                  <a:srgbClr val="002855"/>
                </a:solidFill>
                <a:latin typeface="Arial" charset="0"/>
              </a:defRPr>
            </a:lvl3pPr>
            <a:lvl4pPr marL="1674813" indent="-238125" algn="l" defTabSz="95885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>
                <a:solidFill>
                  <a:srgbClr val="002855"/>
                </a:solidFill>
                <a:latin typeface="Arial" charset="0"/>
              </a:defRPr>
            </a:lvl4pPr>
            <a:lvl5pPr marL="2155825" indent="-241300" algn="l" defTabSz="958850" rtl="0" eaLnBrk="1" fontAlgn="base" hangingPunct="1">
              <a:spcBef>
                <a:spcPct val="20000"/>
              </a:spcBef>
              <a:spcAft>
                <a:spcPct val="0"/>
              </a:spcAft>
              <a:buSzPct val="90000"/>
              <a:buFont typeface="Wingdings" pitchFamily="2" charset="2"/>
              <a:buChar char="§"/>
              <a:defRPr sz="1600">
                <a:solidFill>
                  <a:srgbClr val="002855"/>
                </a:solidFill>
                <a:latin typeface="Arial" charset="0"/>
              </a:defRPr>
            </a:lvl5pPr>
            <a:lvl6pPr marL="2613025" indent="-241300" algn="l" defTabSz="95885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6pPr>
            <a:lvl7pPr marL="3070225" indent="-241300" algn="l" defTabSz="95885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7pPr>
            <a:lvl8pPr marL="3527425" indent="-241300" algn="l" defTabSz="95885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8pPr>
            <a:lvl9pPr marL="3984625" indent="-241300" algn="l" defTabSz="95885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it-IT" b="1" i="0" kern="0" dirty="0"/>
              <a:t>Definire in maniera </a:t>
            </a:r>
            <a:r>
              <a:rPr lang="it-IT" b="1" i="1" kern="0" dirty="0"/>
              <a:t>dinamica</a:t>
            </a:r>
            <a:r>
              <a:rPr lang="it-IT" b="1" i="0" kern="0" dirty="0"/>
              <a:t> il mestiere pubblico nei servizi dell’abitare</a:t>
            </a:r>
          </a:p>
          <a:p>
            <a:pPr marL="0" indent="0">
              <a:buFont typeface="Arial" charset="0"/>
              <a:buNone/>
            </a:pPr>
            <a:endParaRPr lang="it-IT" i="0" kern="0" dirty="0"/>
          </a:p>
        </p:txBody>
      </p:sp>
      <p:grpSp>
        <p:nvGrpSpPr>
          <p:cNvPr id="7" name="Gruppo 6">
            <a:extLst>
              <a:ext uri="{FF2B5EF4-FFF2-40B4-BE49-F238E27FC236}">
                <a16:creationId xmlns:a16="http://schemas.microsoft.com/office/drawing/2014/main" id="{5DDB9FBF-2094-519B-7F00-40259F931BDE}"/>
              </a:ext>
            </a:extLst>
          </p:cNvPr>
          <p:cNvGrpSpPr/>
          <p:nvPr/>
        </p:nvGrpSpPr>
        <p:grpSpPr>
          <a:xfrm>
            <a:off x="922319" y="2262657"/>
            <a:ext cx="2331934" cy="852600"/>
            <a:chOff x="2109" y="1319808"/>
            <a:chExt cx="1883446" cy="706908"/>
          </a:xfrm>
        </p:grpSpPr>
        <p:sp>
          <p:nvSpPr>
            <p:cNvPr id="8" name="Rettangolo con angoli arrotondati 7">
              <a:extLst>
                <a:ext uri="{FF2B5EF4-FFF2-40B4-BE49-F238E27FC236}">
                  <a16:creationId xmlns:a16="http://schemas.microsoft.com/office/drawing/2014/main" id="{8010F329-0BFA-51DC-6168-FF5CC0F1A032}"/>
                </a:ext>
              </a:extLst>
            </p:cNvPr>
            <p:cNvSpPr/>
            <p:nvPr/>
          </p:nvSpPr>
          <p:spPr>
            <a:xfrm>
              <a:off x="2109" y="1319808"/>
              <a:ext cx="1883446" cy="706908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CasellaDiTesto 8">
              <a:extLst>
                <a:ext uri="{FF2B5EF4-FFF2-40B4-BE49-F238E27FC236}">
                  <a16:creationId xmlns:a16="http://schemas.microsoft.com/office/drawing/2014/main" id="{908D4695-22D4-B67B-DE27-AB20C3EB7670}"/>
                </a:ext>
              </a:extLst>
            </p:cNvPr>
            <p:cNvSpPr txBox="1"/>
            <p:nvPr/>
          </p:nvSpPr>
          <p:spPr>
            <a:xfrm>
              <a:off x="2109" y="1319808"/>
              <a:ext cx="1883446" cy="47127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8016" tIns="128016" rIns="128016" bIns="68580" numCol="1" spcCol="1270" anchor="t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it-IT" sz="1800" b="1" kern="1200" dirty="0"/>
                <a:t>1980</a:t>
              </a:r>
            </a:p>
          </p:txBody>
        </p:sp>
      </p:grp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0C0874FC-0AD9-8967-AB72-2EB0D5372AF3}"/>
              </a:ext>
            </a:extLst>
          </p:cNvPr>
          <p:cNvGrpSpPr/>
          <p:nvPr/>
        </p:nvGrpSpPr>
        <p:grpSpPr>
          <a:xfrm>
            <a:off x="3867048" y="2475810"/>
            <a:ext cx="504918" cy="426294"/>
            <a:chOff x="2123714" y="1333094"/>
            <a:chExt cx="504918" cy="426294"/>
          </a:xfrm>
        </p:grpSpPr>
        <p:sp>
          <p:nvSpPr>
            <p:cNvPr id="14" name="Freccia a destra 13">
              <a:extLst>
                <a:ext uri="{FF2B5EF4-FFF2-40B4-BE49-F238E27FC236}">
                  <a16:creationId xmlns:a16="http://schemas.microsoft.com/office/drawing/2014/main" id="{9BA79495-B61E-9908-67A8-2699A29BAE32}"/>
                </a:ext>
              </a:extLst>
            </p:cNvPr>
            <p:cNvSpPr/>
            <p:nvPr/>
          </p:nvSpPr>
          <p:spPr>
            <a:xfrm rot="21577912">
              <a:off x="2123714" y="1333094"/>
              <a:ext cx="504918" cy="426294"/>
            </a:xfrm>
            <a:prstGeom prst="rightArrow">
              <a:avLst>
                <a:gd name="adj1" fmla="val 60000"/>
                <a:gd name="adj2" fmla="val 50000"/>
              </a:avLst>
            </a:pr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Freccia a destra 4">
              <a:extLst>
                <a:ext uri="{FF2B5EF4-FFF2-40B4-BE49-F238E27FC236}">
                  <a16:creationId xmlns:a16="http://schemas.microsoft.com/office/drawing/2014/main" id="{1B80F0BD-0D12-5956-2128-DADA99393CA3}"/>
                </a:ext>
              </a:extLst>
            </p:cNvPr>
            <p:cNvSpPr txBox="1"/>
            <p:nvPr/>
          </p:nvSpPr>
          <p:spPr>
            <a:xfrm rot="21577912">
              <a:off x="2123715" y="1418764"/>
              <a:ext cx="377030" cy="25577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it-IT" sz="1400" kern="1200"/>
            </a:p>
          </p:txBody>
        </p:sp>
      </p:grp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4C848D1A-30CA-036C-8EB1-4461BA88AAA9}"/>
              </a:ext>
            </a:extLst>
          </p:cNvPr>
          <p:cNvGrpSpPr/>
          <p:nvPr/>
        </p:nvGrpSpPr>
        <p:grpSpPr>
          <a:xfrm>
            <a:off x="4873516" y="2311253"/>
            <a:ext cx="2160240" cy="852600"/>
            <a:chOff x="2109" y="1319808"/>
            <a:chExt cx="1883446" cy="706908"/>
          </a:xfrm>
        </p:grpSpPr>
        <p:sp>
          <p:nvSpPr>
            <p:cNvPr id="17" name="Rettangolo con angoli arrotondati 16">
              <a:extLst>
                <a:ext uri="{FF2B5EF4-FFF2-40B4-BE49-F238E27FC236}">
                  <a16:creationId xmlns:a16="http://schemas.microsoft.com/office/drawing/2014/main" id="{CA112F34-2EA1-7A47-28A1-8C385A86AEF6}"/>
                </a:ext>
              </a:extLst>
            </p:cNvPr>
            <p:cNvSpPr/>
            <p:nvPr/>
          </p:nvSpPr>
          <p:spPr>
            <a:xfrm>
              <a:off x="2109" y="1319808"/>
              <a:ext cx="1883446" cy="706908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CasellaDiTesto 17">
              <a:extLst>
                <a:ext uri="{FF2B5EF4-FFF2-40B4-BE49-F238E27FC236}">
                  <a16:creationId xmlns:a16="http://schemas.microsoft.com/office/drawing/2014/main" id="{A975DB5C-6E36-5F6D-3AEE-7DEA54D21858}"/>
                </a:ext>
              </a:extLst>
            </p:cNvPr>
            <p:cNvSpPr txBox="1"/>
            <p:nvPr/>
          </p:nvSpPr>
          <p:spPr>
            <a:xfrm>
              <a:off x="2109" y="1319808"/>
              <a:ext cx="1883446" cy="47127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8016" tIns="128016" rIns="128016" bIns="68580" numCol="1" spcCol="1270" anchor="t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it-IT" sz="1800" b="1" kern="1200" dirty="0"/>
                <a:t>2019</a:t>
              </a:r>
            </a:p>
          </p:txBody>
        </p:sp>
      </p:grpSp>
      <p:grpSp>
        <p:nvGrpSpPr>
          <p:cNvPr id="30" name="Gruppo 29">
            <a:extLst>
              <a:ext uri="{FF2B5EF4-FFF2-40B4-BE49-F238E27FC236}">
                <a16:creationId xmlns:a16="http://schemas.microsoft.com/office/drawing/2014/main" id="{F683656F-F84A-5BE7-D694-4599C9E76AB5}"/>
              </a:ext>
            </a:extLst>
          </p:cNvPr>
          <p:cNvGrpSpPr/>
          <p:nvPr/>
        </p:nvGrpSpPr>
        <p:grpSpPr>
          <a:xfrm>
            <a:off x="7710235" y="2522034"/>
            <a:ext cx="550281" cy="426294"/>
            <a:chOff x="4810003" y="1324624"/>
            <a:chExt cx="550281" cy="426294"/>
          </a:xfrm>
        </p:grpSpPr>
        <p:sp>
          <p:nvSpPr>
            <p:cNvPr id="31" name="Freccia a destra 30">
              <a:extLst>
                <a:ext uri="{FF2B5EF4-FFF2-40B4-BE49-F238E27FC236}">
                  <a16:creationId xmlns:a16="http://schemas.microsoft.com/office/drawing/2014/main" id="{4447613A-007A-6705-1827-B64A9020AE2D}"/>
                </a:ext>
              </a:extLst>
            </p:cNvPr>
            <p:cNvSpPr/>
            <p:nvPr/>
          </p:nvSpPr>
          <p:spPr>
            <a:xfrm>
              <a:off x="4810003" y="1324624"/>
              <a:ext cx="550281" cy="426294"/>
            </a:xfrm>
            <a:prstGeom prst="rightArrow">
              <a:avLst>
                <a:gd name="adj1" fmla="val 60000"/>
                <a:gd name="adj2" fmla="val 50000"/>
              </a:avLst>
            </a:pr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Freccia a destra 4">
              <a:extLst>
                <a:ext uri="{FF2B5EF4-FFF2-40B4-BE49-F238E27FC236}">
                  <a16:creationId xmlns:a16="http://schemas.microsoft.com/office/drawing/2014/main" id="{9F56188D-7EA3-13CA-048E-4CB46C93A9CD}"/>
                </a:ext>
              </a:extLst>
            </p:cNvPr>
            <p:cNvSpPr txBox="1"/>
            <p:nvPr/>
          </p:nvSpPr>
          <p:spPr>
            <a:xfrm>
              <a:off x="4810003" y="1409883"/>
              <a:ext cx="422393" cy="25577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it-IT" sz="1400" kern="1200"/>
            </a:p>
          </p:txBody>
        </p:sp>
      </p:grpSp>
      <p:grpSp>
        <p:nvGrpSpPr>
          <p:cNvPr id="33" name="Gruppo 32">
            <a:extLst>
              <a:ext uri="{FF2B5EF4-FFF2-40B4-BE49-F238E27FC236}">
                <a16:creationId xmlns:a16="http://schemas.microsoft.com/office/drawing/2014/main" id="{30BC05E5-9204-D10E-DEDE-9816FBD73B73}"/>
              </a:ext>
            </a:extLst>
          </p:cNvPr>
          <p:cNvGrpSpPr/>
          <p:nvPr/>
        </p:nvGrpSpPr>
        <p:grpSpPr>
          <a:xfrm>
            <a:off x="8925179" y="2308881"/>
            <a:ext cx="2160240" cy="852600"/>
            <a:chOff x="2109" y="1319808"/>
            <a:chExt cx="1883446" cy="706908"/>
          </a:xfrm>
        </p:grpSpPr>
        <p:sp>
          <p:nvSpPr>
            <p:cNvPr id="34" name="Rettangolo con angoli arrotondati 33">
              <a:extLst>
                <a:ext uri="{FF2B5EF4-FFF2-40B4-BE49-F238E27FC236}">
                  <a16:creationId xmlns:a16="http://schemas.microsoft.com/office/drawing/2014/main" id="{919AE5E4-C0D8-90DC-86C4-BBE99EA57724}"/>
                </a:ext>
              </a:extLst>
            </p:cNvPr>
            <p:cNvSpPr/>
            <p:nvPr/>
          </p:nvSpPr>
          <p:spPr>
            <a:xfrm>
              <a:off x="2109" y="1319808"/>
              <a:ext cx="1883446" cy="706908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CasellaDiTesto 34">
              <a:extLst>
                <a:ext uri="{FF2B5EF4-FFF2-40B4-BE49-F238E27FC236}">
                  <a16:creationId xmlns:a16="http://schemas.microsoft.com/office/drawing/2014/main" id="{5B4E8BCF-B615-87D1-0B44-5C8597E1B7AF}"/>
                </a:ext>
              </a:extLst>
            </p:cNvPr>
            <p:cNvSpPr txBox="1"/>
            <p:nvPr/>
          </p:nvSpPr>
          <p:spPr>
            <a:xfrm>
              <a:off x="2109" y="1319808"/>
              <a:ext cx="1883446" cy="47127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8016" tIns="128016" rIns="128016" bIns="68580" numCol="1" spcCol="1270" anchor="t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it-IT" sz="1800" b="1" kern="1200" dirty="0"/>
                <a:t>2030</a:t>
              </a:r>
            </a:p>
          </p:txBody>
        </p:sp>
      </p:grpSp>
      <p:sp>
        <p:nvSpPr>
          <p:cNvPr id="39" name="CasellaDiTesto 38">
            <a:extLst>
              <a:ext uri="{FF2B5EF4-FFF2-40B4-BE49-F238E27FC236}">
                <a16:creationId xmlns:a16="http://schemas.microsoft.com/office/drawing/2014/main" id="{B8EC5C52-D218-5D72-E855-B4B1C00D429A}"/>
              </a:ext>
            </a:extLst>
          </p:cNvPr>
          <p:cNvSpPr txBox="1"/>
          <p:nvPr/>
        </p:nvSpPr>
        <p:spPr bwMode="auto">
          <a:xfrm>
            <a:off x="899755" y="6090818"/>
            <a:ext cx="10392489" cy="297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en-US" sz="2000" baseline="30000" dirty="0" err="1">
                <a:solidFill>
                  <a:schemeClr val="tx2">
                    <a:lumMod val="90000"/>
                    <a:lumOff val="10000"/>
                  </a:schemeClr>
                </a:solidFill>
                <a:effectLst/>
                <a:latin typeface="+mj-lt"/>
                <a:ea typeface="Times New Roman" panose="02020603050405020304" pitchFamily="18" charset="0"/>
              </a:rPr>
              <a:t>Risultati</a:t>
            </a:r>
            <a:r>
              <a:rPr lang="en-US" sz="2000" baseline="30000" dirty="0">
                <a:solidFill>
                  <a:schemeClr val="tx2">
                    <a:lumMod val="90000"/>
                    <a:lumOff val="10000"/>
                  </a:schemeClr>
                </a:solidFill>
                <a:effectLst/>
                <a:latin typeface="+mj-lt"/>
                <a:ea typeface="Times New Roman" panose="02020603050405020304" pitchFamily="18" charset="0"/>
              </a:rPr>
              <a:t> survey -</a:t>
            </a:r>
            <a:r>
              <a:rPr lang="en-US" sz="2000" i="1" kern="1200" baseline="30000" dirty="0">
                <a:solidFill>
                  <a:schemeClr val="tx2">
                    <a:lumMod val="90000"/>
                    <a:lumOff val="10000"/>
                  </a:schemeClr>
                </a:solidFill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2000" i="1" baseline="30000" dirty="0">
                <a:solidFill>
                  <a:schemeClr val="tx2">
                    <a:lumMod val="90000"/>
                    <a:lumOff val="10000"/>
                  </a:schemeClr>
                </a:solidFill>
                <a:effectLst/>
                <a:latin typeface="+mj-lt"/>
                <a:ea typeface="Times New Roman" panose="02020603050405020304" pitchFamily="18" charset="0"/>
              </a:rPr>
              <a:t>I° Workshop – La </a:t>
            </a:r>
            <a:r>
              <a:rPr lang="en-US" sz="2000" i="1" baseline="30000" dirty="0" err="1">
                <a:solidFill>
                  <a:schemeClr val="tx2">
                    <a:lumMod val="90000"/>
                    <a:lumOff val="10000"/>
                  </a:schemeClr>
                </a:solidFill>
                <a:effectLst/>
                <a:latin typeface="+mj-lt"/>
                <a:ea typeface="Times New Roman" panose="02020603050405020304" pitchFamily="18" charset="0"/>
              </a:rPr>
              <a:t>gestione</a:t>
            </a:r>
            <a:r>
              <a:rPr lang="en-US" sz="2000" i="1" baseline="30000" dirty="0">
                <a:solidFill>
                  <a:schemeClr val="tx2">
                    <a:lumMod val="90000"/>
                    <a:lumOff val="10000"/>
                  </a:schemeClr>
                </a:solidFill>
                <a:effectLst/>
                <a:latin typeface="+mj-lt"/>
                <a:ea typeface="Times New Roman" panose="02020603050405020304" pitchFamily="18" charset="0"/>
              </a:rPr>
              <a:t> </a:t>
            </a:r>
            <a:r>
              <a:rPr lang="en-US" sz="2000" i="1" baseline="30000" dirty="0" err="1">
                <a:solidFill>
                  <a:schemeClr val="tx2">
                    <a:lumMod val="90000"/>
                    <a:lumOff val="10000"/>
                  </a:schemeClr>
                </a:solidFill>
                <a:effectLst/>
                <a:latin typeface="+mj-lt"/>
                <a:ea typeface="Times New Roman" panose="02020603050405020304" pitchFamily="18" charset="0"/>
              </a:rPr>
              <a:t>economico-finanziaria</a:t>
            </a:r>
            <a:r>
              <a:rPr lang="en-US" sz="2000" baseline="30000" dirty="0">
                <a:solidFill>
                  <a:schemeClr val="tx2">
                    <a:lumMod val="90000"/>
                    <a:lumOff val="10000"/>
                  </a:schemeClr>
                </a:solidFill>
                <a:effectLst/>
                <a:latin typeface="+mj-lt"/>
                <a:ea typeface="Times New Roman" panose="02020603050405020304" pitchFamily="18" charset="0"/>
              </a:rPr>
              <a:t>– Giovanni </a:t>
            </a:r>
            <a:r>
              <a:rPr lang="en-US" sz="2000" baseline="30000" dirty="0" err="1">
                <a:solidFill>
                  <a:schemeClr val="tx2">
                    <a:lumMod val="90000"/>
                    <a:lumOff val="10000"/>
                  </a:schemeClr>
                </a:solidFill>
                <a:effectLst/>
                <a:latin typeface="+mj-lt"/>
                <a:ea typeface="Times New Roman" panose="02020603050405020304" pitchFamily="18" charset="0"/>
              </a:rPr>
              <a:t>Fosti</a:t>
            </a:r>
            <a:r>
              <a:rPr lang="en-US" sz="2000" baseline="30000" dirty="0">
                <a:solidFill>
                  <a:schemeClr val="tx2">
                    <a:lumMod val="90000"/>
                    <a:lumOff val="10000"/>
                  </a:schemeClr>
                </a:solidFill>
                <a:effectLst/>
                <a:latin typeface="+mj-lt"/>
                <a:ea typeface="Times New Roman" panose="02020603050405020304" pitchFamily="18" charset="0"/>
              </a:rPr>
              <a:t> - Eleonora </a:t>
            </a:r>
            <a:r>
              <a:rPr lang="en-US" sz="2000" baseline="30000" dirty="0" err="1">
                <a:solidFill>
                  <a:schemeClr val="tx2">
                    <a:lumMod val="90000"/>
                    <a:lumOff val="10000"/>
                  </a:schemeClr>
                </a:solidFill>
                <a:effectLst/>
                <a:latin typeface="+mj-lt"/>
                <a:ea typeface="Times New Roman" panose="02020603050405020304" pitchFamily="18" charset="0"/>
              </a:rPr>
              <a:t>Perobelli</a:t>
            </a:r>
            <a:r>
              <a:rPr lang="en-US" sz="2000" baseline="30000" dirty="0">
                <a:solidFill>
                  <a:schemeClr val="tx2">
                    <a:lumMod val="90000"/>
                    <a:lumOff val="10000"/>
                  </a:schemeClr>
                </a:solidFill>
                <a:effectLst/>
                <a:latin typeface="+mj-lt"/>
                <a:ea typeface="Times New Roman" panose="02020603050405020304" pitchFamily="18" charset="0"/>
              </a:rPr>
              <a:t> SDA Bocconi </a:t>
            </a:r>
            <a:r>
              <a:rPr lang="en-US" sz="2000" baseline="30000" dirty="0">
                <a:solidFill>
                  <a:schemeClr val="tx2">
                    <a:lumMod val="90000"/>
                    <a:lumOff val="1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2019</a:t>
            </a:r>
          </a:p>
        </p:txBody>
      </p:sp>
      <p:pic>
        <p:nvPicPr>
          <p:cNvPr id="40" name="Segnaposto contenuto 4">
            <a:extLst>
              <a:ext uri="{FF2B5EF4-FFF2-40B4-BE49-F238E27FC236}">
                <a16:creationId xmlns:a16="http://schemas.microsoft.com/office/drawing/2014/main" id="{DDAEDE61-D310-BC28-E866-A84F83024E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3212316"/>
            <a:ext cx="3096344" cy="2331329"/>
          </a:xfrm>
          <a:prstGeom prst="rect">
            <a:avLst/>
          </a:prstGeom>
        </p:spPr>
      </p:pic>
      <p:pic>
        <p:nvPicPr>
          <p:cNvPr id="41" name="Segnaposto contenuto 4">
            <a:extLst>
              <a:ext uri="{FF2B5EF4-FFF2-40B4-BE49-F238E27FC236}">
                <a16:creationId xmlns:a16="http://schemas.microsoft.com/office/drawing/2014/main" id="{72955BBB-ACF1-8584-A7C3-9BAB8CA3433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1527" y="3212316"/>
            <a:ext cx="3011798" cy="2482483"/>
          </a:xfrm>
          <a:prstGeom prst="rect">
            <a:avLst/>
          </a:prstGeom>
        </p:spPr>
      </p:pic>
      <p:pic>
        <p:nvPicPr>
          <p:cNvPr id="42" name="Segnaposto contenuto 4">
            <a:extLst>
              <a:ext uri="{FF2B5EF4-FFF2-40B4-BE49-F238E27FC236}">
                <a16:creationId xmlns:a16="http://schemas.microsoft.com/office/drawing/2014/main" id="{6FB60BE4-ED3E-8E3E-D991-0FECDF5F0C8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635" y="3166279"/>
            <a:ext cx="2736000" cy="2754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7862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300">
        <p14:pan dir="u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79424" y="152400"/>
            <a:ext cx="9144967" cy="684312"/>
          </a:xfrm>
        </p:spPr>
        <p:txBody>
          <a:bodyPr/>
          <a:lstStyle/>
          <a:p>
            <a:r>
              <a:rPr lang="it-IT" dirty="0"/>
              <a:t>Il BISOGNO DI CAMBIAMENTO</a:t>
            </a:r>
            <a:br>
              <a:rPr lang="it-IT" dirty="0"/>
            </a:br>
            <a:endParaRPr lang="it-IT" sz="2400" cap="none" dirty="0"/>
          </a:p>
        </p:txBody>
      </p:sp>
      <p:graphicFrame>
        <p:nvGraphicFramePr>
          <p:cNvPr id="3" name="Diagramma 2">
            <a:extLst>
              <a:ext uri="{FF2B5EF4-FFF2-40B4-BE49-F238E27FC236}">
                <a16:creationId xmlns:a16="http://schemas.microsoft.com/office/drawing/2014/main" id="{8BCEE22D-4845-2011-F5F4-C1CC742FEAB6}"/>
              </a:ext>
            </a:extLst>
          </p:cNvPr>
          <p:cNvGraphicFramePr/>
          <p:nvPr/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7513246"/>
      </p:ext>
    </p:extLst>
  </p:cSld>
  <p:clrMapOvr>
    <a:masterClrMapping/>
  </p:clrMapOvr>
  <p:transition spd="slow">
    <p:comb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23392" y="116632"/>
            <a:ext cx="9144967" cy="53926"/>
          </a:xfrm>
        </p:spPr>
        <p:txBody>
          <a:bodyPr/>
          <a:lstStyle/>
          <a:p>
            <a:r>
              <a:rPr lang="it-IT" dirty="0"/>
              <a:t>L’occasione per REALIZZARE il cambiamento</a:t>
            </a:r>
            <a:endParaRPr lang="it-IT" sz="2400" cap="none" dirty="0"/>
          </a:p>
        </p:txBody>
      </p:sp>
      <p:pic>
        <p:nvPicPr>
          <p:cNvPr id="4" name="Segnaposto contenuto 8">
            <a:extLst>
              <a:ext uri="{FF2B5EF4-FFF2-40B4-BE49-F238E27FC236}">
                <a16:creationId xmlns:a16="http://schemas.microsoft.com/office/drawing/2014/main" id="{901BC64D-CA27-CC8B-57A7-6569839ACAE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71" r="1637"/>
          <a:stretch/>
        </p:blipFill>
        <p:spPr>
          <a:xfrm>
            <a:off x="0" y="674614"/>
            <a:ext cx="12192000" cy="6183385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</a:schemeClr>
              </a:gs>
              <a:gs pos="46000">
                <a:schemeClr val="accent2">
                  <a:lumMod val="95000"/>
                  <a:lumOff val="5000"/>
                </a:schemeClr>
              </a:gs>
              <a:gs pos="100000">
                <a:schemeClr val="accent2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</p:spPr>
      </p:pic>
    </p:spTree>
    <p:extLst>
      <p:ext uri="{BB962C8B-B14F-4D97-AF65-F5344CB8AC3E}">
        <p14:creationId xmlns:p14="http://schemas.microsoft.com/office/powerpoint/2010/main" val="31754074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14:window dir="vert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51384" y="188640"/>
            <a:ext cx="9144967" cy="1062038"/>
          </a:xfrm>
        </p:spPr>
        <p:txBody>
          <a:bodyPr/>
          <a:lstStyle/>
          <a:p>
            <a:r>
              <a:rPr lang="it-IT" dirty="0"/>
              <a:t>IL RIPOSIZIONAMENTO STRATEGICO</a:t>
            </a:r>
            <a:br>
              <a:rPr lang="it-IT" dirty="0"/>
            </a:br>
            <a:r>
              <a:rPr lang="it-IT" dirty="0"/>
              <a:t>DI ARTE IMPERIA</a:t>
            </a:r>
            <a:br>
              <a:rPr lang="it-IT" dirty="0"/>
            </a:br>
            <a:endParaRPr lang="it-IT" sz="2400" cap="none" dirty="0"/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11BC0096-6E11-C0DF-2887-12589759BC12}"/>
              </a:ext>
            </a:extLst>
          </p:cNvPr>
          <p:cNvSpPr txBox="1"/>
          <p:nvPr/>
        </p:nvSpPr>
        <p:spPr bwMode="auto">
          <a:xfrm>
            <a:off x="551384" y="1988840"/>
            <a:ext cx="10729192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it-IT" sz="2800" dirty="0">
                <a:solidFill>
                  <a:srgbClr val="002855"/>
                </a:solidFill>
                <a:latin typeface="Arial"/>
                <a:ea typeface="+mj-ea"/>
                <a:cs typeface="Arial"/>
                <a:sym typeface="Verdana Bold" panose="020B0804030504040204" pitchFamily="34" charset="0"/>
              </a:rPr>
              <a:t>Per garantire la sopravvivenza dell’Azienda e legittimarne l’operato si deve sviluppare </a:t>
            </a:r>
            <a:r>
              <a:rPr lang="it-IT" sz="2800" b="1" dirty="0">
                <a:solidFill>
                  <a:srgbClr val="002855"/>
                </a:solidFill>
                <a:latin typeface="Arial"/>
                <a:ea typeface="+mj-ea"/>
                <a:cs typeface="Arial"/>
                <a:sym typeface="Verdana Bold" panose="020B0804030504040204" pitchFamily="34" charset="0"/>
              </a:rPr>
              <a:t>un modello di “Direzione Sociale” </a:t>
            </a:r>
            <a:r>
              <a:rPr lang="it-IT" sz="2800" dirty="0">
                <a:solidFill>
                  <a:srgbClr val="002855"/>
                </a:solidFill>
                <a:latin typeface="Arial"/>
                <a:ea typeface="+mj-ea"/>
                <a:cs typeface="Arial"/>
                <a:sym typeface="Verdana Bold" panose="020B0804030504040204" pitchFamily="34" charset="0"/>
              </a:rPr>
              <a:t>che preveda nell’organizzazione aziendale l’integrazione sistematica tra figure tecniche, amministrative e sociali avviando così un percorso di gestione dell’utenza in grado di apportare positive ricadute anche sul patrimonio.</a:t>
            </a:r>
          </a:p>
        </p:txBody>
      </p:sp>
    </p:spTree>
    <p:extLst>
      <p:ext uri="{BB962C8B-B14F-4D97-AF65-F5344CB8AC3E}">
        <p14:creationId xmlns:p14="http://schemas.microsoft.com/office/powerpoint/2010/main" val="4090817856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51384" y="53570"/>
            <a:ext cx="9144967" cy="567118"/>
          </a:xfrm>
        </p:spPr>
        <p:txBody>
          <a:bodyPr/>
          <a:lstStyle/>
          <a:p>
            <a:r>
              <a:rPr lang="it-IT" dirty="0"/>
              <a:t>Verso un’azienda agile</a:t>
            </a:r>
            <a:br>
              <a:rPr lang="it-IT" dirty="0"/>
            </a:br>
            <a:endParaRPr lang="it-IT" sz="2400" cap="none" dirty="0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0F2442F0-7B9D-08BA-946A-DE6BD09069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1895" y="1149888"/>
            <a:ext cx="2847975" cy="3190875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90B25E1D-3A17-3419-00EB-62973E494D47}"/>
              </a:ext>
            </a:extLst>
          </p:cNvPr>
          <p:cNvSpPr txBox="1"/>
          <p:nvPr/>
        </p:nvSpPr>
        <p:spPr bwMode="auto">
          <a:xfrm>
            <a:off x="4644873" y="913651"/>
            <a:ext cx="7200800" cy="7478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it-IT" sz="3200" dirty="0">
                <a:solidFill>
                  <a:schemeClr val="tx2"/>
                </a:solidFill>
                <a:latin typeface="+mj-lt"/>
              </a:rPr>
              <a:t>investire su una visione comune e  condivisa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it-IT" sz="3200" dirty="0">
                <a:solidFill>
                  <a:schemeClr val="tx2"/>
                </a:solidFill>
                <a:latin typeface="+mj-lt"/>
              </a:rPr>
              <a:t>adottare una leadership situazional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it-IT" sz="3200" dirty="0">
                <a:solidFill>
                  <a:schemeClr val="tx2"/>
                </a:solidFill>
                <a:latin typeface="+mj-lt"/>
              </a:rPr>
              <a:t>valorizzare le persone</a:t>
            </a:r>
            <a:endParaRPr lang="it-IT" sz="3200" dirty="0">
              <a:solidFill>
                <a:schemeClr val="tx2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it-IT" sz="3200" dirty="0">
                <a:solidFill>
                  <a:schemeClr val="tx2"/>
                </a:solidFill>
                <a:latin typeface="+mj-lt"/>
                <a:ea typeface="Times New Roman" panose="02020603050405020304" pitchFamily="18" charset="0"/>
              </a:rPr>
              <a:t>riqualificare il personale</a:t>
            </a:r>
            <a:r>
              <a:rPr lang="it-IT" sz="3200" dirty="0">
                <a:solidFill>
                  <a:schemeClr val="tx2"/>
                </a:solidFill>
                <a:effectLst/>
                <a:latin typeface="+mj-lt"/>
                <a:ea typeface="Times New Roman" panose="02020603050405020304" pitchFamily="18" charset="0"/>
              </a:rPr>
              <a:t>    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it-IT" sz="3200" dirty="0">
                <a:solidFill>
                  <a:schemeClr val="tx2"/>
                </a:solidFill>
                <a:effectLst/>
                <a:latin typeface="+mj-lt"/>
                <a:ea typeface="Times New Roman" panose="02020603050405020304" pitchFamily="18" charset="0"/>
              </a:rPr>
              <a:t>reclutare nuove figure sociali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it-IT" sz="3200" dirty="0">
                <a:solidFill>
                  <a:schemeClr val="tx2"/>
                </a:solidFill>
                <a:effectLst/>
                <a:latin typeface="+mj-lt"/>
                <a:ea typeface="Times New Roman" panose="02020603050405020304" pitchFamily="18" charset="0"/>
              </a:rPr>
              <a:t>ripensare layout degli uffici in modo da promuovere la flessibilità e l’agilità professionale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it-IT" sz="3200" dirty="0">
                <a:solidFill>
                  <a:schemeClr val="tx2"/>
                </a:solidFill>
                <a:latin typeface="+mj-lt"/>
                <a:ea typeface="Times New Roman" panose="02020603050405020304" pitchFamily="18" charset="0"/>
              </a:rPr>
              <a:t>ripensare gli spazi in ottica di team</a:t>
            </a:r>
          </a:p>
          <a:p>
            <a:pPr algn="just"/>
            <a:endParaRPr lang="it-IT" sz="3200" dirty="0">
              <a:solidFill>
                <a:schemeClr val="tx2"/>
              </a:solidFill>
              <a:latin typeface="+mj-lt"/>
            </a:endParaRPr>
          </a:p>
          <a:p>
            <a:pPr algn="just"/>
            <a:endParaRPr lang="it-IT" sz="3200" dirty="0">
              <a:solidFill>
                <a:schemeClr val="tx2"/>
              </a:solidFill>
              <a:latin typeface="+mj-lt"/>
            </a:endParaRPr>
          </a:p>
          <a:p>
            <a:pPr algn="just"/>
            <a:endParaRPr lang="it-IT" sz="3200" dirty="0">
              <a:solidFill>
                <a:schemeClr val="tx2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algn="just"/>
            <a:endParaRPr lang="it-IT" sz="3200" dirty="0">
              <a:solidFill>
                <a:schemeClr val="tx2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algn="just"/>
            <a:endParaRPr lang="it-IT" sz="3200" dirty="0">
              <a:solidFill>
                <a:schemeClr val="tx2"/>
              </a:solidFill>
              <a:effectLst/>
              <a:latin typeface="+mj-lt"/>
              <a:ea typeface="Times New Roman" panose="02020603050405020304" pitchFamily="18" charset="0"/>
            </a:endParaRP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71E4BF2A-0088-C56F-70A1-CA1E398AF4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4" y="4653136"/>
            <a:ext cx="3395345" cy="1799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8923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300">
        <p14:pan dir="u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79424" y="152400"/>
            <a:ext cx="9144967" cy="1062038"/>
          </a:xfrm>
        </p:spPr>
        <p:txBody>
          <a:bodyPr/>
          <a:lstStyle/>
          <a:p>
            <a:r>
              <a:rPr lang="it-IT" dirty="0"/>
              <a:t>Il centro servizi all’utenza</a:t>
            </a:r>
            <a:br>
              <a:rPr lang="it-IT" dirty="0"/>
            </a:br>
            <a:r>
              <a:rPr lang="it-IT" sz="2400" dirty="0"/>
              <a:t>punto di riferimento per la cittadinanza fragile</a:t>
            </a:r>
            <a:endParaRPr lang="it-IT" sz="2400" cap="none" dirty="0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7456695A-86DF-CBA1-AB51-FCD747EE4A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408" y="1214439"/>
            <a:ext cx="9722921" cy="3222674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EE2DD76D-7B7B-0AC0-9AD3-AEEE3B731F2F}"/>
              </a:ext>
            </a:extLst>
          </p:cNvPr>
          <p:cNvSpPr txBox="1"/>
          <p:nvPr/>
        </p:nvSpPr>
        <p:spPr bwMode="auto">
          <a:xfrm>
            <a:off x="767408" y="4653136"/>
            <a:ext cx="10441160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it-IT" sz="2800" dirty="0">
                <a:solidFill>
                  <a:schemeClr val="tx2"/>
                </a:solidFill>
                <a:latin typeface="+mj-lt"/>
              </a:rPr>
              <a:t>Politiche di accesso e di layout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it-IT" sz="2800" dirty="0">
                <a:solidFill>
                  <a:schemeClr val="tx2"/>
                </a:solidFill>
                <a:latin typeface="+mj-lt"/>
              </a:rPr>
              <a:t>Il personale di contatto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it-IT" sz="2800" dirty="0">
                <a:solidFill>
                  <a:schemeClr val="tx2"/>
                </a:solidFill>
                <a:latin typeface="+mj-lt"/>
              </a:rPr>
              <a:t>Portale web e ART@PP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it-IT" sz="2800" dirty="0">
                <a:solidFill>
                  <a:schemeClr val="tx2"/>
                </a:solidFill>
                <a:latin typeface="+mj-lt"/>
              </a:rPr>
              <a:t>Lo skill mix </a:t>
            </a:r>
          </a:p>
        </p:txBody>
      </p:sp>
    </p:spTree>
    <p:extLst>
      <p:ext uri="{BB962C8B-B14F-4D97-AF65-F5344CB8AC3E}">
        <p14:creationId xmlns:p14="http://schemas.microsoft.com/office/powerpoint/2010/main" val="24038182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>
        <p14:prism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1">
            <a:extLst>
              <a:ext uri="{FF2B5EF4-FFF2-40B4-BE49-F238E27FC236}">
                <a16:creationId xmlns:a16="http://schemas.microsoft.com/office/drawing/2014/main" id="{28ACF6CF-3B98-2B30-19A1-767B6FAF78DB}"/>
              </a:ext>
            </a:extLst>
          </p:cNvPr>
          <p:cNvSpPr txBox="1">
            <a:spLocks/>
          </p:cNvSpPr>
          <p:nvPr/>
        </p:nvSpPr>
        <p:spPr bwMode="auto">
          <a:xfrm>
            <a:off x="551384" y="476672"/>
            <a:ext cx="9144967" cy="1062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lang="en-US" sz="2800" b="0" cap="all" baseline="0" noProof="0">
                <a:solidFill>
                  <a:srgbClr val="002855"/>
                </a:solidFill>
                <a:latin typeface="Arial"/>
                <a:ea typeface="+mj-ea"/>
                <a:cs typeface="Arial"/>
                <a:sym typeface="Verdana Bold" panose="020B0804030504040204" pitchFamily="34" charset="0"/>
              </a:defRPr>
            </a:lvl1pPr>
            <a:lvl2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2pPr>
            <a:lvl3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3pPr>
            <a:lvl4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4pPr>
            <a:lvl5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5pPr>
            <a:lvl6pPr marL="4572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6pPr>
            <a:lvl7pPr marL="9144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7pPr>
            <a:lvl8pPr marL="13716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8pPr>
            <a:lvl9pPr marL="18288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9pPr>
          </a:lstStyle>
          <a:p>
            <a:r>
              <a:rPr lang="it-IT" i="0" kern="0" dirty="0"/>
              <a:t>ART@PP</a:t>
            </a:r>
            <a:br>
              <a:rPr lang="it-IT" i="0" kern="0" dirty="0"/>
            </a:br>
            <a:r>
              <a:rPr lang="it-IT" sz="2400" i="0" kern="0" dirty="0"/>
              <a:t>SEMPLIFICAZIONE PER GLI UTENTI</a:t>
            </a:r>
            <a:endParaRPr lang="it-IT" sz="2400" i="0" kern="0" cap="none" dirty="0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33FE8A6D-591B-B723-85DA-1B35262D774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68" t="34250" r="11506" b="7090"/>
          <a:stretch/>
        </p:blipFill>
        <p:spPr>
          <a:xfrm>
            <a:off x="6858054" y="3836774"/>
            <a:ext cx="2388584" cy="1522394"/>
          </a:xfrm>
          <a:prstGeom prst="rect">
            <a:avLst/>
          </a:prstGeom>
        </p:spPr>
      </p:pic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5E68B948-C0D7-C9D9-E10E-8BFBE8B508C6}"/>
              </a:ext>
            </a:extLst>
          </p:cNvPr>
          <p:cNvSpPr txBox="1"/>
          <p:nvPr/>
        </p:nvSpPr>
        <p:spPr bwMode="auto">
          <a:xfrm>
            <a:off x="437402" y="4941168"/>
            <a:ext cx="10441160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it-IT" sz="2800" dirty="0">
                <a:solidFill>
                  <a:schemeClr val="tx2"/>
                </a:solidFill>
                <a:latin typeface="+mj-lt"/>
              </a:rPr>
              <a:t>Prenotare appuntamenti con gli uffici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it-IT" sz="2800" dirty="0">
                <a:solidFill>
                  <a:schemeClr val="tx2"/>
                </a:solidFill>
                <a:latin typeface="+mj-lt"/>
              </a:rPr>
              <a:t>Trovare le risposte alle domande più frequenti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it-IT" sz="2800" dirty="0">
                <a:solidFill>
                  <a:schemeClr val="tx2"/>
                </a:solidFill>
                <a:latin typeface="+mj-lt"/>
              </a:rPr>
              <a:t>Pagare i bollettini con le coordinate bancarie e postali </a:t>
            </a:r>
          </a:p>
        </p:txBody>
      </p:sp>
      <p:sp>
        <p:nvSpPr>
          <p:cNvPr id="23" name="Titolo 1">
            <a:extLst>
              <a:ext uri="{FF2B5EF4-FFF2-40B4-BE49-F238E27FC236}">
                <a16:creationId xmlns:a16="http://schemas.microsoft.com/office/drawing/2014/main" id="{A0F20A96-5D67-5684-AB0A-143246451C6C}"/>
              </a:ext>
            </a:extLst>
          </p:cNvPr>
          <p:cNvSpPr txBox="1">
            <a:spLocks/>
          </p:cNvSpPr>
          <p:nvPr/>
        </p:nvSpPr>
        <p:spPr bwMode="auto">
          <a:xfrm>
            <a:off x="479376" y="4509120"/>
            <a:ext cx="9144967" cy="1062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lang="en-US" sz="2800" b="0" cap="all" baseline="0" noProof="0">
                <a:solidFill>
                  <a:srgbClr val="002855"/>
                </a:solidFill>
                <a:latin typeface="Arial"/>
                <a:ea typeface="+mj-ea"/>
                <a:cs typeface="Arial"/>
                <a:sym typeface="Verdana Bold" panose="020B0804030504040204" pitchFamily="34" charset="0"/>
              </a:defRPr>
            </a:lvl1pPr>
            <a:lvl2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2pPr>
            <a:lvl3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3pPr>
            <a:lvl4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4pPr>
            <a:lvl5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5pPr>
            <a:lvl6pPr marL="4572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6pPr>
            <a:lvl7pPr marL="9144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7pPr>
            <a:lvl8pPr marL="13716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8pPr>
            <a:lvl9pPr marL="18288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9pPr>
          </a:lstStyle>
          <a:p>
            <a:r>
              <a:rPr lang="it-IT" sz="2200" i="0" kern="0" dirty="0"/>
              <a:t>Con smartphone, pc o tablet puoi:</a:t>
            </a:r>
            <a:endParaRPr lang="it-IT" sz="2200" i="0" kern="0" cap="none" dirty="0"/>
          </a:p>
        </p:txBody>
      </p:sp>
      <p:pic>
        <p:nvPicPr>
          <p:cNvPr id="1036" name="Picture 12">
            <a:extLst>
              <a:ext uri="{FF2B5EF4-FFF2-40B4-BE49-F238E27FC236}">
                <a16:creationId xmlns:a16="http://schemas.microsoft.com/office/drawing/2014/main" id="{FF3F3F6D-95D2-957E-BAD5-590EBF996F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989" y="2030873"/>
            <a:ext cx="6425065" cy="2390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633E9A19-E20E-02A2-8CB8-0A78AC820A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2402" y="1412776"/>
            <a:ext cx="2388583" cy="5256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9836881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0_format_presentazioni_aula_office2007">
  <a:themeElements>
    <a:clrScheme name="Custom 2">
      <a:dk1>
        <a:sysClr val="windowText" lastClr="000000"/>
      </a:dk1>
      <a:lt1>
        <a:sysClr val="window" lastClr="FFFFFF"/>
      </a:lt1>
      <a:dk2>
        <a:srgbClr val="002855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DA2020">
      <a:majorFont>
        <a:latin typeface="Arial"/>
        <a:ea typeface="ヒラギノ角ゴ ProN W6"/>
        <a:cs typeface="ヒラギノ角ゴ ProN W6"/>
      </a:majorFont>
      <a:minorFont>
        <a:latin typeface="Arial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60000"/>
            <a:lumOff val="40000"/>
          </a:schemeClr>
        </a:solidFill>
        <a:ln w="9525" algn="ctr">
          <a:solidFill>
            <a:schemeClr val="tx2"/>
          </a:solidFill>
          <a:round/>
          <a:headEnd/>
          <a:tailEnd/>
        </a:ln>
      </a:spPr>
      <a:bodyPr lIns="36000" tIns="36000" rIns="36000" bIns="36000" rtlCol="0" anchor="ctr">
        <a:normAutofit/>
      </a:bodyPr>
      <a:lstStyle>
        <a:defPPr algn="ctr" defTabSz="958850" eaLnBrk="0" hangingPunct="0">
          <a:defRPr sz="1800" i="0" dirty="0" smtClean="0">
            <a:solidFill>
              <a:srgbClr val="003399"/>
            </a:solidFill>
            <a:latin typeface="Arial" charset="0"/>
          </a:defRPr>
        </a:defPPr>
      </a:lstStyle>
    </a:spDef>
    <a:lnDef>
      <a:spPr bwMode="auto">
        <a:ln>
          <a:solidFill>
            <a:schemeClr val="tx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none" rtlCol="0">
        <a:spAutoFit/>
      </a:bodyPr>
      <a:lstStyle>
        <a:defPPr>
          <a:defRPr sz="1800" i="0" dirty="0" smtClean="0">
            <a:solidFill>
              <a:srgbClr val="002855"/>
            </a:solidFill>
            <a:latin typeface="Arial" charset="0"/>
            <a:cs typeface="Arial" charset="0"/>
          </a:defRPr>
        </a:defPPr>
      </a:lstStyle>
    </a:txDef>
  </a:objectDefaults>
  <a:extraClrSchemeLst>
    <a:extraClrScheme>
      <a:clrScheme name="Presentazione vuo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lide istituzionali materiale didattico 16_9 2020 NEW" id="{A551A327-3B23-485D-A9B0-7EA6F9FCE39F}" vid="{0236118B-CBFB-46A5-9C43-B5A6C1233ACC}"/>
    </a:ext>
  </a:extLst>
</a:theme>
</file>

<file path=ppt/theme/theme2.xml><?xml version="1.0" encoding="utf-8"?>
<a:theme xmlns:a="http://schemas.openxmlformats.org/drawingml/2006/main" name="2010_format_presentazioni_aula_office2007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40000"/>
            <a:lumOff val="60000"/>
          </a:schemeClr>
        </a:solidFill>
        <a:ln w="9525" algn="ctr">
          <a:solidFill>
            <a:srgbClr val="000066"/>
          </a:solidFill>
          <a:round/>
          <a:headEnd/>
          <a:tailEnd/>
        </a:ln>
      </a:spPr>
      <a:bodyPr lIns="36000" tIns="36000" rIns="36000" bIns="36000" anchor="ctr">
        <a:normAutofit/>
      </a:bodyPr>
      <a:lstStyle>
        <a:defPPr algn="ctr" defTabSz="958850" eaLnBrk="0" hangingPunct="0">
          <a:defRPr sz="1800" i="0" dirty="0" smtClean="0">
            <a:solidFill>
              <a:srgbClr val="003399"/>
            </a:solidFill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5885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65 Helvetica Medium" charset="0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 wrap="none">
        <a:spAutoFit/>
      </a:bodyPr>
      <a:lstStyle>
        <a:defPPr algn="ctr">
          <a:defRPr sz="1800" i="0" dirty="0" err="1">
            <a:solidFill>
              <a:srgbClr val="003399"/>
            </a:solidFill>
            <a:latin typeface="Arial" charset="0"/>
            <a:cs typeface="Arial" charset="0"/>
          </a:defRPr>
        </a:defPPr>
      </a:lstStyle>
    </a:txDef>
  </a:objectDefaults>
  <a:extraClrSchemeLst>
    <a:extraClrScheme>
      <a:clrScheme name="Presentazione vuo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55F792557977154F9C055D6C91E3FA73" ma:contentTypeVersion="11" ma:contentTypeDescription="Creare un nuovo documento." ma:contentTypeScope="" ma:versionID="f73bde565edc2953d47975879c218ba7">
  <xsd:schema xmlns:xsd="http://www.w3.org/2001/XMLSchema" xmlns:xs="http://www.w3.org/2001/XMLSchema" xmlns:p="http://schemas.microsoft.com/office/2006/metadata/properties" xmlns:ns3="4b2605db-78f8-4a4a-9636-c67bebfe2067" xmlns:ns4="a61bfc46-7cdd-47ce-9135-c6de99b1fd60" targetNamespace="http://schemas.microsoft.com/office/2006/metadata/properties" ma:root="true" ma:fieldsID="3bbcea0c8aa511f8a9bdff5cdf24a40e" ns3:_="" ns4:_="">
    <xsd:import namespace="4b2605db-78f8-4a4a-9636-c67bebfe2067"/>
    <xsd:import namespace="a61bfc46-7cdd-47ce-9135-c6de99b1fd6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2605db-78f8-4a4a-9636-c67bebfe206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1bfc46-7cdd-47ce-9135-c6de99b1fd6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Hash suggerimento condivisione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FEE044D-4D59-4CAC-BAD2-6ED6CFCC17F1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elements/1.1/"/>
    <ds:schemaRef ds:uri="a61bfc46-7cdd-47ce-9135-c6de99b1fd60"/>
    <ds:schemaRef ds:uri="http://schemas.microsoft.com/office/infopath/2007/PartnerControls"/>
    <ds:schemaRef ds:uri="4b2605db-78f8-4a4a-9636-c67bebfe2067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C0302F2-FC49-4E65-99E1-12AEB472908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A984502-2EFA-4785-84CE-68EFA3DAADF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2605db-78f8-4a4a-9636-c67bebfe2067"/>
    <ds:schemaRef ds:uri="a61bfc46-7cdd-47ce-9135-c6de99b1fd6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0</TotalTime>
  <Words>1070</Words>
  <Application>Microsoft Office PowerPoint</Application>
  <PresentationFormat>Widescreen</PresentationFormat>
  <Paragraphs>171</Paragraphs>
  <Slides>22</Slides>
  <Notes>9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0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2</vt:i4>
      </vt:variant>
    </vt:vector>
  </HeadingPairs>
  <TitlesOfParts>
    <vt:vector size="35" baseType="lpstr">
      <vt:lpstr>Arial</vt:lpstr>
      <vt:lpstr>avenir-lt-w01_35-light1475496</vt:lpstr>
      <vt:lpstr>avenir-lt-w01_85-heavy1475544</vt:lpstr>
      <vt:lpstr>Calibri</vt:lpstr>
      <vt:lpstr>Tahoma</vt:lpstr>
      <vt:lpstr>Times</vt:lpstr>
      <vt:lpstr>Times New Roman</vt:lpstr>
      <vt:lpstr>Univers Light</vt:lpstr>
      <vt:lpstr>Verdana</vt:lpstr>
      <vt:lpstr>Wingdings</vt:lpstr>
      <vt:lpstr>2010_format_presentazioni_aula_office2007</vt:lpstr>
      <vt:lpstr>2010_format_presentazioni_aula_office2007</vt:lpstr>
      <vt:lpstr>Diapositiva think-cell</vt:lpstr>
      <vt:lpstr>Executive Master in Management delle Amministrazioni Pubbliche</vt:lpstr>
      <vt:lpstr>Overview del progetto </vt:lpstr>
      <vt:lpstr>il CONTESTO la MISSION DELLE Aziende Casa</vt:lpstr>
      <vt:lpstr>Il BISOGNO DI CAMBIAMENTO </vt:lpstr>
      <vt:lpstr>L’occasione per REALIZZARE il cambiamento</vt:lpstr>
      <vt:lpstr>IL RIPOSIZIONAMENTO STRATEGICO DI ARTE IMPERIA </vt:lpstr>
      <vt:lpstr>Verso un’azienda agile </vt:lpstr>
      <vt:lpstr>Il centro servizi all’utenza punto di riferimento per la cittadinanza fragile</vt:lpstr>
      <vt:lpstr>Presentazione standard di PowerPoint</vt:lpstr>
      <vt:lpstr>Presentazione standard di PowerPoint</vt:lpstr>
      <vt:lpstr>L’innovazione sociale   </vt:lpstr>
      <vt:lpstr>creare un welfare aggregato    </vt:lpstr>
      <vt:lpstr>Gli attori coinvolti nell’innovazione   </vt:lpstr>
      <vt:lpstr>SERVIZI COME PARTNERSHIP</vt:lpstr>
      <vt:lpstr>LA SOSTENIBILITà DELL’INNOVAZIONE</vt:lpstr>
      <vt:lpstr>Piano di realizzazione Attività</vt:lpstr>
      <vt:lpstr>Sal – RISULTATI DA RAGGIUNGERE</vt:lpstr>
      <vt:lpstr>Messaggi chiave del progetto</vt:lpstr>
      <vt:lpstr>Messaggi chiave del progetto</vt:lpstr>
      <vt:lpstr>Presentazione standard di PowerPoint</vt:lpstr>
      <vt:lpstr>Presentazione standard di PowerPoint</vt:lpstr>
      <vt:lpstr>Craig Mapp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ecutive Master in Management delle Amministrazioni Pubbliche</dc:title>
  <dc:creator>Giorgio Giacomelli</dc:creator>
  <cp:lastModifiedBy>Sabrina Coronella</cp:lastModifiedBy>
  <cp:revision>270</cp:revision>
  <dcterms:created xsi:type="dcterms:W3CDTF">2020-05-21T23:44:01Z</dcterms:created>
  <dcterms:modified xsi:type="dcterms:W3CDTF">2022-10-25T12:10:34Z</dcterms:modified>
</cp:coreProperties>
</file>